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2147482255" r:id="rId5"/>
    <p:sldId id="10233" r:id="rId6"/>
    <p:sldId id="400" r:id="rId7"/>
    <p:sldId id="2147482256" r:id="rId8"/>
    <p:sldId id="2147482257" r:id="rId9"/>
    <p:sldId id="2147482258" r:id="rId10"/>
    <p:sldId id="2147482266" r:id="rId11"/>
  </p:sldIdLst>
  <p:sldSz cx="12192000" cy="6858000"/>
  <p:notesSz cx="6743700" cy="98806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4B75D345-7FB1-4946-80A5-381EA7F8513A}">
          <p14:sldIdLst>
            <p14:sldId id="2147482255"/>
            <p14:sldId id="10233"/>
            <p14:sldId id="400"/>
            <p14:sldId id="2147482256"/>
            <p14:sldId id="2147482257"/>
            <p14:sldId id="2147482258"/>
            <p14:sldId id="214748226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12" userDrawn="1">
          <p15:clr>
            <a:srgbClr val="A4A3A4"/>
          </p15:clr>
        </p15:guide>
        <p15:guide id="2" pos="2124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3A9A53B-5591-4079-7CDF-D34F71B0A99C}" name="Nadja Ueberschär" initials="NU" userId="S::nadja.ueberschaer@deutschebahn.com::0ebc43a6-d284-40a0-8d8a-beab017de60f" providerId="AD"/>
  <p188:author id="{6BC14146-D91C-C918-C980-628A407C348C}" name="Julia Szafranski" initials="JS" userId="S::Julia.Szafranski@deutschebahn.com::8745bde9-204c-4ba2-8533-1926afce1ce0" providerId="AD"/>
  <p188:author id="{5E8D504D-0B87-77CB-785B-C950857CFD38}" name="Holger Ludewig" initials="HL" userId="S::holger.ludewig@deutschebahn.com::fe4d5a6c-1961-4969-b528-4baeb161963f" providerId="AD"/>
  <p188:author id="{CA786E4D-3FA2-6425-9918-9B786EF065A5}" name="Yaqoob Gul Khattak" initials="YG" userId="S::Yaqoob.Gul-Khattak@deutschebahn.com::ba870947-5e3d-476a-ba52-21fd37eb106f" providerId="AD"/>
  <p188:author id="{7F05035B-9F26-966D-622E-99030A91A906}" name="Atusa T Ranjbar" initials="ATR" userId="S::Atusa.T.Ranjbar@deutschebahn.com::201d34d6-c689-461f-b092-c6dcf40f2051" providerId="AD"/>
  <p188:author id="{14A1E3A1-D9A2-C88F-AFCE-01AFFCED1E80}" name="Moritz Sondermann" initials="" userId="S::Moritz.Sondermann@deutschebahn.com::f3df79dc-4a87-42bc-8fdd-1040881b5c9a" providerId="AD"/>
  <p188:author id="{7FD0CDB4-7744-D5C3-3559-24304A1573AD}" name="Lisa Voigt" initials="LV" userId="S::Lisa.Voigt@deutschebahn.com::344ba26d-653e-4e7e-bfc4-c49671c37f9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DDDB5"/>
    <a:srgbClr val="00B050"/>
    <a:srgbClr val="FA9090"/>
    <a:srgbClr val="FACA7F"/>
    <a:srgbClr val="87BB40"/>
    <a:srgbClr val="1A65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D9CD7E3-B598-4D38-A932-8173AC866B63}" v="188" dt="2026-06-03T05:30:17.6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60" d="100"/>
          <a:sy n="60" d="100"/>
        </p:scale>
        <p:origin x="1126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12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lia Szafranski" userId="8745bde9-204c-4ba2-8533-1926afce1ce0" providerId="ADAL" clId="{3EDA2417-A6AF-448B-8A77-E734B671213A}"/>
    <pc:docChg chg="undo custSel addSld delSld modSld sldOrd delMainMaster modMainMaster modSection">
      <pc:chgData name="Julia Szafranski" userId="8745bde9-204c-4ba2-8533-1926afce1ce0" providerId="ADAL" clId="{3EDA2417-A6AF-448B-8A77-E734B671213A}" dt="2026-06-03T12:16:49.271" v="1967" actId="47"/>
      <pc:docMkLst>
        <pc:docMk/>
      </pc:docMkLst>
      <pc:sldChg chg="addSp delSp modSp mod">
        <pc:chgData name="Julia Szafranski" userId="8745bde9-204c-4ba2-8533-1926afce1ce0" providerId="ADAL" clId="{3EDA2417-A6AF-448B-8A77-E734B671213A}" dt="2026-06-03T05:28:39.103" v="1942"/>
        <pc:sldMkLst>
          <pc:docMk/>
          <pc:sldMk cId="209852625" sldId="400"/>
        </pc:sldMkLst>
        <pc:spChg chg="mod">
          <ac:chgData name="Julia Szafranski" userId="8745bde9-204c-4ba2-8533-1926afce1ce0" providerId="ADAL" clId="{3EDA2417-A6AF-448B-8A77-E734B671213A}" dt="2026-05-30T05:48:44.469" v="920" actId="1038"/>
          <ac:spMkLst>
            <pc:docMk/>
            <pc:sldMk cId="209852625" sldId="400"/>
            <ac:spMk id="2" creationId="{2EAC4BCD-7EB1-081D-C215-6C04D8DAADD7}"/>
          </ac:spMkLst>
        </pc:spChg>
        <pc:spChg chg="mod">
          <ac:chgData name="Julia Szafranski" userId="8745bde9-204c-4ba2-8533-1926afce1ce0" providerId="ADAL" clId="{3EDA2417-A6AF-448B-8A77-E734B671213A}" dt="2026-05-30T05:47:48.094" v="890" actId="947"/>
          <ac:spMkLst>
            <pc:docMk/>
            <pc:sldMk cId="209852625" sldId="400"/>
            <ac:spMk id="3" creationId="{131E0348-A35C-5625-AEB4-22E02C900986}"/>
          </ac:spMkLst>
        </pc:spChg>
        <pc:spChg chg="add mod">
          <ac:chgData name="Julia Szafranski" userId="8745bde9-204c-4ba2-8533-1926afce1ce0" providerId="ADAL" clId="{3EDA2417-A6AF-448B-8A77-E734B671213A}" dt="2026-06-03T05:25:39.569" v="1897" actId="207"/>
          <ac:spMkLst>
            <pc:docMk/>
            <pc:sldMk cId="209852625" sldId="400"/>
            <ac:spMk id="5" creationId="{3BB98EE5-8AEE-585A-4594-1F3F44B3453A}"/>
          </ac:spMkLst>
        </pc:spChg>
        <pc:spChg chg="mod">
          <ac:chgData name="Julia Szafranski" userId="8745bde9-204c-4ba2-8533-1926afce1ce0" providerId="ADAL" clId="{3EDA2417-A6AF-448B-8A77-E734B671213A}" dt="2026-06-03T05:14:36.414" v="1833" actId="20577"/>
          <ac:spMkLst>
            <pc:docMk/>
            <pc:sldMk cId="209852625" sldId="400"/>
            <ac:spMk id="6" creationId="{40575C5B-C234-7E97-DEF8-429A175C61E3}"/>
          </ac:spMkLst>
        </pc:spChg>
        <pc:spChg chg="mod">
          <ac:chgData name="Julia Szafranski" userId="8745bde9-204c-4ba2-8533-1926afce1ce0" providerId="ADAL" clId="{3EDA2417-A6AF-448B-8A77-E734B671213A}" dt="2026-05-30T05:53:10.873" v="1055" actId="947"/>
          <ac:spMkLst>
            <pc:docMk/>
            <pc:sldMk cId="209852625" sldId="400"/>
            <ac:spMk id="7" creationId="{D8E531FC-2368-C557-3C75-3231DA21C4FB}"/>
          </ac:spMkLst>
        </pc:spChg>
        <pc:spChg chg="mod">
          <ac:chgData name="Julia Szafranski" userId="8745bde9-204c-4ba2-8533-1926afce1ce0" providerId="ADAL" clId="{3EDA2417-A6AF-448B-8A77-E734B671213A}" dt="2026-05-30T05:47:57.549" v="891" actId="947"/>
          <ac:spMkLst>
            <pc:docMk/>
            <pc:sldMk cId="209852625" sldId="400"/>
            <ac:spMk id="8" creationId="{8220575E-0C21-4976-C76D-54815657D57C}"/>
          </ac:spMkLst>
        </pc:spChg>
        <pc:spChg chg="mod">
          <ac:chgData name="Julia Szafranski" userId="8745bde9-204c-4ba2-8533-1926afce1ce0" providerId="ADAL" clId="{3EDA2417-A6AF-448B-8A77-E734B671213A}" dt="2026-05-30T05:48:02.933" v="892" actId="947"/>
          <ac:spMkLst>
            <pc:docMk/>
            <pc:sldMk cId="209852625" sldId="400"/>
            <ac:spMk id="9" creationId="{A2E2B12F-6AE9-187C-9D7B-E456205F95EE}"/>
          </ac:spMkLst>
        </pc:spChg>
        <pc:spChg chg="mod">
          <ac:chgData name="Julia Szafranski" userId="8745bde9-204c-4ba2-8533-1926afce1ce0" providerId="ADAL" clId="{3EDA2417-A6AF-448B-8A77-E734B671213A}" dt="2026-05-30T05:48:07.940" v="893" actId="947"/>
          <ac:spMkLst>
            <pc:docMk/>
            <pc:sldMk cId="209852625" sldId="400"/>
            <ac:spMk id="10" creationId="{1822A03D-54E2-FC56-F848-BBC80249FA96}"/>
          </ac:spMkLst>
        </pc:spChg>
        <pc:spChg chg="add mod">
          <ac:chgData name="Julia Szafranski" userId="8745bde9-204c-4ba2-8533-1926afce1ce0" providerId="ADAL" clId="{3EDA2417-A6AF-448B-8A77-E734B671213A}" dt="2026-06-03T05:28:11.619" v="1937" actId="14100"/>
          <ac:spMkLst>
            <pc:docMk/>
            <pc:sldMk cId="209852625" sldId="400"/>
            <ac:spMk id="11" creationId="{BBDCF4DE-1AA2-5F22-E884-C756821873C6}"/>
          </ac:spMkLst>
        </pc:spChg>
        <pc:spChg chg="mod">
          <ac:chgData name="Julia Szafranski" userId="8745bde9-204c-4ba2-8533-1926afce1ce0" providerId="ADAL" clId="{3EDA2417-A6AF-448B-8A77-E734B671213A}" dt="2026-05-30T05:48:13.501" v="894" actId="947"/>
          <ac:spMkLst>
            <pc:docMk/>
            <pc:sldMk cId="209852625" sldId="400"/>
            <ac:spMk id="14" creationId="{CE03FC56-5445-7174-36AB-5C0490B043F5}"/>
          </ac:spMkLst>
        </pc:spChg>
        <pc:spChg chg="mod">
          <ac:chgData name="Julia Szafranski" userId="8745bde9-204c-4ba2-8533-1926afce1ce0" providerId="ADAL" clId="{3EDA2417-A6AF-448B-8A77-E734B671213A}" dt="2026-05-30T05:48:19.850" v="895" actId="947"/>
          <ac:spMkLst>
            <pc:docMk/>
            <pc:sldMk cId="209852625" sldId="400"/>
            <ac:spMk id="15" creationId="{2E943052-FEF4-8B4E-2EA2-4ED234C425DD}"/>
          </ac:spMkLst>
        </pc:spChg>
        <pc:spChg chg="add mod">
          <ac:chgData name="Julia Szafranski" userId="8745bde9-204c-4ba2-8533-1926afce1ce0" providerId="ADAL" clId="{3EDA2417-A6AF-448B-8A77-E734B671213A}" dt="2026-06-03T05:28:39.103" v="1942"/>
          <ac:spMkLst>
            <pc:docMk/>
            <pc:sldMk cId="209852625" sldId="400"/>
            <ac:spMk id="18" creationId="{B0DF70AA-4002-5AF3-F4E9-3351466FAD61}"/>
          </ac:spMkLst>
        </pc:spChg>
        <pc:spChg chg="mod">
          <ac:chgData name="Julia Szafranski" userId="8745bde9-204c-4ba2-8533-1926afce1ce0" providerId="ADAL" clId="{3EDA2417-A6AF-448B-8A77-E734B671213A}" dt="2026-05-30T05:48:24.306" v="896" actId="947"/>
          <ac:spMkLst>
            <pc:docMk/>
            <pc:sldMk cId="209852625" sldId="400"/>
            <ac:spMk id="59" creationId="{3942FFC1-4369-78BA-5924-D4D76BE53B34}"/>
          </ac:spMkLst>
        </pc:spChg>
        <pc:picChg chg="add del mod">
          <ac:chgData name="Julia Szafranski" userId="8745bde9-204c-4ba2-8533-1926afce1ce0" providerId="ADAL" clId="{3EDA2417-A6AF-448B-8A77-E734B671213A}" dt="2026-06-03T05:28:37.935" v="1941" actId="478"/>
          <ac:picMkLst>
            <pc:docMk/>
            <pc:sldMk cId="209852625" sldId="400"/>
            <ac:picMk id="17" creationId="{ACB71D82-F999-E67F-C94A-D65289A003A3}"/>
          </ac:picMkLst>
        </pc:picChg>
        <pc:picChg chg="add mod">
          <ac:chgData name="Julia Szafranski" userId="8745bde9-204c-4ba2-8533-1926afce1ce0" providerId="ADAL" clId="{3EDA2417-A6AF-448B-8A77-E734B671213A}" dt="2026-06-03T05:28:39.103" v="1942"/>
          <ac:picMkLst>
            <pc:docMk/>
            <pc:sldMk cId="209852625" sldId="400"/>
            <ac:picMk id="24" creationId="{54323B77-791D-B6A0-380D-7E9FF5F7D3B1}"/>
          </ac:picMkLst>
        </pc:picChg>
      </pc:sldChg>
      <pc:sldChg chg="del">
        <pc:chgData name="Julia Szafranski" userId="8745bde9-204c-4ba2-8533-1926afce1ce0" providerId="ADAL" clId="{3EDA2417-A6AF-448B-8A77-E734B671213A}" dt="2026-05-30T05:32:09.199" v="815" actId="47"/>
        <pc:sldMkLst>
          <pc:docMk/>
          <pc:sldMk cId="3788936799" sldId="1177"/>
        </pc:sldMkLst>
      </pc:sldChg>
      <pc:sldChg chg="del">
        <pc:chgData name="Julia Szafranski" userId="8745bde9-204c-4ba2-8533-1926afce1ce0" providerId="ADAL" clId="{3EDA2417-A6AF-448B-8A77-E734B671213A}" dt="2026-05-30T05:31:59.324" v="809" actId="47"/>
        <pc:sldMkLst>
          <pc:docMk/>
          <pc:sldMk cId="2526136143" sldId="10208"/>
        </pc:sldMkLst>
      </pc:sldChg>
      <pc:sldChg chg="modSp mod">
        <pc:chgData name="Julia Szafranski" userId="8745bde9-204c-4ba2-8533-1926afce1ce0" providerId="ADAL" clId="{3EDA2417-A6AF-448B-8A77-E734B671213A}" dt="2026-06-03T04:51:30.662" v="1115" actId="14100"/>
        <pc:sldMkLst>
          <pc:docMk/>
          <pc:sldMk cId="3807548493" sldId="10233"/>
        </pc:sldMkLst>
        <pc:spChg chg="mod">
          <ac:chgData name="Julia Szafranski" userId="8745bde9-204c-4ba2-8533-1926afce1ce0" providerId="ADAL" clId="{3EDA2417-A6AF-448B-8A77-E734B671213A}" dt="2026-06-03T04:51:30.662" v="1115" actId="14100"/>
          <ac:spMkLst>
            <pc:docMk/>
            <pc:sldMk cId="3807548493" sldId="10233"/>
            <ac:spMk id="7" creationId="{D31657FC-383D-BEB9-A753-11412B2605B0}"/>
          </ac:spMkLst>
        </pc:spChg>
      </pc:sldChg>
      <pc:sldChg chg="del">
        <pc:chgData name="Julia Szafranski" userId="8745bde9-204c-4ba2-8533-1926afce1ce0" providerId="ADAL" clId="{3EDA2417-A6AF-448B-8A77-E734B671213A}" dt="2026-05-30T05:32:08.498" v="814" actId="47"/>
        <pc:sldMkLst>
          <pc:docMk/>
          <pc:sldMk cId="3410054299" sldId="10250"/>
        </pc:sldMkLst>
      </pc:sldChg>
      <pc:sldChg chg="del">
        <pc:chgData name="Julia Szafranski" userId="8745bde9-204c-4ba2-8533-1926afce1ce0" providerId="ADAL" clId="{3EDA2417-A6AF-448B-8A77-E734B671213A}" dt="2026-05-30T05:32:12.971" v="818" actId="47"/>
        <pc:sldMkLst>
          <pc:docMk/>
          <pc:sldMk cId="483449317" sldId="2134808623"/>
        </pc:sldMkLst>
      </pc:sldChg>
      <pc:sldChg chg="del">
        <pc:chgData name="Julia Szafranski" userId="8745bde9-204c-4ba2-8533-1926afce1ce0" providerId="ADAL" clId="{3EDA2417-A6AF-448B-8A77-E734B671213A}" dt="2026-05-30T05:32:07.377" v="812" actId="47"/>
        <pc:sldMkLst>
          <pc:docMk/>
          <pc:sldMk cId="1103475415" sldId="2134808627"/>
        </pc:sldMkLst>
      </pc:sldChg>
      <pc:sldChg chg="del">
        <pc:chgData name="Julia Szafranski" userId="8745bde9-204c-4ba2-8533-1926afce1ce0" providerId="ADAL" clId="{3EDA2417-A6AF-448B-8A77-E734B671213A}" dt="2026-05-30T05:32:07.933" v="813" actId="47"/>
        <pc:sldMkLst>
          <pc:docMk/>
          <pc:sldMk cId="437614793" sldId="2134808690"/>
        </pc:sldMkLst>
      </pc:sldChg>
      <pc:sldChg chg="del">
        <pc:chgData name="Julia Szafranski" userId="8745bde9-204c-4ba2-8533-1926afce1ce0" providerId="ADAL" clId="{3EDA2417-A6AF-448B-8A77-E734B671213A}" dt="2026-05-30T05:32:11.516" v="817" actId="47"/>
        <pc:sldMkLst>
          <pc:docMk/>
          <pc:sldMk cId="3698023474" sldId="2134808706"/>
        </pc:sldMkLst>
      </pc:sldChg>
      <pc:sldChg chg="del">
        <pc:chgData name="Julia Szafranski" userId="8745bde9-204c-4ba2-8533-1926afce1ce0" providerId="ADAL" clId="{3EDA2417-A6AF-448B-8A77-E734B671213A}" dt="2026-05-30T05:32:10.866" v="816" actId="47"/>
        <pc:sldMkLst>
          <pc:docMk/>
          <pc:sldMk cId="1967873147" sldId="2134808709"/>
        </pc:sldMkLst>
      </pc:sldChg>
      <pc:sldChg chg="addSp delSp modSp del mod">
        <pc:chgData name="Julia Szafranski" userId="8745bde9-204c-4ba2-8533-1926afce1ce0" providerId="ADAL" clId="{3EDA2417-A6AF-448B-8A77-E734B671213A}" dt="2026-06-03T12:16:49.271" v="1967" actId="47"/>
        <pc:sldMkLst>
          <pc:docMk/>
          <pc:sldMk cId="2950365949" sldId="2147482208"/>
        </pc:sldMkLst>
        <pc:spChg chg="mod">
          <ac:chgData name="Julia Szafranski" userId="8745bde9-204c-4ba2-8533-1926afce1ce0" providerId="ADAL" clId="{3EDA2417-A6AF-448B-8A77-E734B671213A}" dt="2026-06-03T04:52:46.390" v="1118" actId="20577"/>
          <ac:spMkLst>
            <pc:docMk/>
            <pc:sldMk cId="2950365949" sldId="2147482208"/>
            <ac:spMk id="3" creationId="{99127CEA-F34F-E489-634C-CC23DB676024}"/>
          </ac:spMkLst>
        </pc:spChg>
        <pc:spChg chg="add mod">
          <ac:chgData name="Julia Szafranski" userId="8745bde9-204c-4ba2-8533-1926afce1ce0" providerId="ADAL" clId="{3EDA2417-A6AF-448B-8A77-E734B671213A}" dt="2026-06-03T05:28:30.351" v="1940" actId="1038"/>
          <ac:spMkLst>
            <pc:docMk/>
            <pc:sldMk cId="2950365949" sldId="2147482208"/>
            <ac:spMk id="5" creationId="{87351F42-ADCB-9598-F749-49FB938FFFE5}"/>
          </ac:spMkLst>
        </pc:spChg>
        <pc:spChg chg="mod">
          <ac:chgData name="Julia Szafranski" userId="8745bde9-204c-4ba2-8533-1926afce1ce0" providerId="ADAL" clId="{3EDA2417-A6AF-448B-8A77-E734B671213A}" dt="2026-06-03T05:14:47.942" v="1850" actId="20577"/>
          <ac:spMkLst>
            <pc:docMk/>
            <pc:sldMk cId="2950365949" sldId="2147482208"/>
            <ac:spMk id="10" creationId="{2A309859-61B7-DAD4-3158-CD75DB7C71C2}"/>
          </ac:spMkLst>
        </pc:spChg>
        <pc:spChg chg="mod">
          <ac:chgData name="Julia Szafranski" userId="8745bde9-204c-4ba2-8533-1926afce1ce0" providerId="ADAL" clId="{3EDA2417-A6AF-448B-8A77-E734B671213A}" dt="2026-06-03T04:57:38.168" v="1373" actId="20577"/>
          <ac:spMkLst>
            <pc:docMk/>
            <pc:sldMk cId="2950365949" sldId="2147482208"/>
            <ac:spMk id="25" creationId="{177632E3-B4E4-5999-0267-9BC772047B1A}"/>
          </ac:spMkLst>
        </pc:spChg>
        <pc:picChg chg="add mod">
          <ac:chgData name="Julia Szafranski" userId="8745bde9-204c-4ba2-8533-1926afce1ce0" providerId="ADAL" clId="{3EDA2417-A6AF-448B-8A77-E734B671213A}" dt="2026-06-03T05:28:30.351" v="1940" actId="1038"/>
          <ac:picMkLst>
            <pc:docMk/>
            <pc:sldMk cId="2950365949" sldId="2147482208"/>
            <ac:picMk id="12" creationId="{0535F45B-B7A3-6AD9-BC9E-2ABF1DFEBC1F}"/>
          </ac:picMkLst>
        </pc:picChg>
      </pc:sldChg>
      <pc:sldChg chg="addSp delSp modSp mod">
        <pc:chgData name="Julia Szafranski" userId="8745bde9-204c-4ba2-8533-1926afce1ce0" providerId="ADAL" clId="{3EDA2417-A6AF-448B-8A77-E734B671213A}" dt="2026-06-03T05:27:32.424" v="1927" actId="478"/>
        <pc:sldMkLst>
          <pc:docMk/>
          <pc:sldMk cId="3920216399" sldId="2147482255"/>
        </pc:sldMkLst>
        <pc:spChg chg="mod">
          <ac:chgData name="Julia Szafranski" userId="8745bde9-204c-4ba2-8533-1926afce1ce0" providerId="ADAL" clId="{3EDA2417-A6AF-448B-8A77-E734B671213A}" dt="2026-06-03T05:14:25.139" v="1813" actId="13926"/>
          <ac:spMkLst>
            <pc:docMk/>
            <pc:sldMk cId="3920216399" sldId="2147482255"/>
            <ac:spMk id="4" creationId="{062AA9A6-C763-437C-9E06-2BBABCA0EBBF}"/>
          </ac:spMkLst>
        </pc:spChg>
        <pc:spChg chg="mod">
          <ac:chgData name="Julia Szafranski" userId="8745bde9-204c-4ba2-8533-1926afce1ce0" providerId="ADAL" clId="{3EDA2417-A6AF-448B-8A77-E734B671213A}" dt="2026-06-03T04:51:19.142" v="1111" actId="20577"/>
          <ac:spMkLst>
            <pc:docMk/>
            <pc:sldMk cId="3920216399" sldId="2147482255"/>
            <ac:spMk id="5" creationId="{1293146D-126E-7F13-109F-F58CC0949019}"/>
          </ac:spMkLst>
        </pc:spChg>
        <pc:spChg chg="del mod">
          <ac:chgData name="Julia Szafranski" userId="8745bde9-204c-4ba2-8533-1926afce1ce0" providerId="ADAL" clId="{3EDA2417-A6AF-448B-8A77-E734B671213A}" dt="2026-06-03T05:27:32.424" v="1927" actId="478"/>
          <ac:spMkLst>
            <pc:docMk/>
            <pc:sldMk cId="3920216399" sldId="2147482255"/>
            <ac:spMk id="7" creationId="{549E3D04-18CB-AF23-EC27-BDB074236F36}"/>
          </ac:spMkLst>
        </pc:spChg>
        <pc:spChg chg="mod">
          <ac:chgData name="Julia Szafranski" userId="8745bde9-204c-4ba2-8533-1926afce1ce0" providerId="ADAL" clId="{3EDA2417-A6AF-448B-8A77-E734B671213A}" dt="2026-05-30T05:47:38.396" v="889" actId="113"/>
          <ac:spMkLst>
            <pc:docMk/>
            <pc:sldMk cId="3920216399" sldId="2147482255"/>
            <ac:spMk id="8" creationId="{B0243EAE-5776-7541-23BF-D8C86EC51763}"/>
          </ac:spMkLst>
        </pc:spChg>
        <pc:picChg chg="add mod">
          <ac:chgData name="Julia Szafranski" userId="8745bde9-204c-4ba2-8533-1926afce1ce0" providerId="ADAL" clId="{3EDA2417-A6AF-448B-8A77-E734B671213A}" dt="2026-06-03T05:27:30.667" v="1920" actId="962"/>
          <ac:picMkLst>
            <pc:docMk/>
            <pc:sldMk cId="3920216399" sldId="2147482255"/>
            <ac:picMk id="3" creationId="{B2FE8189-C353-3B2E-6E5E-6AF58C00FB29}"/>
          </ac:picMkLst>
        </pc:picChg>
      </pc:sldChg>
      <pc:sldChg chg="addSp delSp modSp mod ord">
        <pc:chgData name="Julia Szafranski" userId="8745bde9-204c-4ba2-8533-1926afce1ce0" providerId="ADAL" clId="{3EDA2417-A6AF-448B-8A77-E734B671213A}" dt="2026-06-03T11:54:13.925" v="1966" actId="20577"/>
        <pc:sldMkLst>
          <pc:docMk/>
          <pc:sldMk cId="2351847459" sldId="2147482256"/>
        </pc:sldMkLst>
        <pc:spChg chg="mod">
          <ac:chgData name="Julia Szafranski" userId="8745bde9-204c-4ba2-8533-1926afce1ce0" providerId="ADAL" clId="{3EDA2417-A6AF-448B-8A77-E734B671213A}" dt="2026-06-03T11:54:13.925" v="1966" actId="20577"/>
          <ac:spMkLst>
            <pc:docMk/>
            <pc:sldMk cId="2351847459" sldId="2147482256"/>
            <ac:spMk id="2" creationId="{BF8376AE-B137-1E46-D227-C7AA0C8A927B}"/>
          </ac:spMkLst>
        </pc:spChg>
        <pc:spChg chg="mod">
          <ac:chgData name="Julia Szafranski" userId="8745bde9-204c-4ba2-8533-1926afce1ce0" providerId="ADAL" clId="{3EDA2417-A6AF-448B-8A77-E734B671213A}" dt="2026-06-03T05:14:54.294" v="1864" actId="20577"/>
          <ac:spMkLst>
            <pc:docMk/>
            <pc:sldMk cId="2351847459" sldId="2147482256"/>
            <ac:spMk id="3" creationId="{D806A5E8-D2CC-7B6D-082D-6DD3680FE944}"/>
          </ac:spMkLst>
        </pc:spChg>
        <pc:spChg chg="add del mod">
          <ac:chgData name="Julia Szafranski" userId="8745bde9-204c-4ba2-8533-1926afce1ce0" providerId="ADAL" clId="{3EDA2417-A6AF-448B-8A77-E734B671213A}" dt="2026-06-03T05:00:11.692" v="1406"/>
          <ac:spMkLst>
            <pc:docMk/>
            <pc:sldMk cId="2351847459" sldId="2147482256"/>
            <ac:spMk id="4" creationId="{3AEC26C4-6DEB-1647-C5B1-BE208494779F}"/>
          </ac:spMkLst>
        </pc:spChg>
        <pc:spChg chg="mod">
          <ac:chgData name="Julia Szafranski" userId="8745bde9-204c-4ba2-8533-1926afce1ce0" providerId="ADAL" clId="{3EDA2417-A6AF-448B-8A77-E734B671213A}" dt="2026-05-30T05:53:33.147" v="1057" actId="947"/>
          <ac:spMkLst>
            <pc:docMk/>
            <pc:sldMk cId="2351847459" sldId="2147482256"/>
            <ac:spMk id="5" creationId="{0C059DAF-3329-7AE1-18F9-E6A63AB71A2C}"/>
          </ac:spMkLst>
        </pc:spChg>
        <pc:spChg chg="add mod">
          <ac:chgData name="Julia Szafranski" userId="8745bde9-204c-4ba2-8533-1926afce1ce0" providerId="ADAL" clId="{3EDA2417-A6AF-448B-8A77-E734B671213A}" dt="2026-06-03T05:00:28.388" v="1415" actId="20577"/>
          <ac:spMkLst>
            <pc:docMk/>
            <pc:sldMk cId="2351847459" sldId="2147482256"/>
            <ac:spMk id="7" creationId="{D32AA5E3-EFAE-A417-98CE-C0515A1CB429}"/>
          </ac:spMkLst>
        </pc:spChg>
        <pc:spChg chg="add mod ord">
          <ac:chgData name="Julia Szafranski" userId="8745bde9-204c-4ba2-8533-1926afce1ce0" providerId="ADAL" clId="{3EDA2417-A6AF-448B-8A77-E734B671213A}" dt="2026-06-03T05:06:43.253" v="1671" actId="1037"/>
          <ac:spMkLst>
            <pc:docMk/>
            <pc:sldMk cId="2351847459" sldId="2147482256"/>
            <ac:spMk id="8" creationId="{0ABAB82D-BF37-1002-9971-2A39CC7988C0}"/>
          </ac:spMkLst>
        </pc:spChg>
        <pc:spChg chg="add mod">
          <ac:chgData name="Julia Szafranski" userId="8745bde9-204c-4ba2-8533-1926afce1ce0" providerId="ADAL" clId="{3EDA2417-A6AF-448B-8A77-E734B671213A}" dt="2026-06-03T05:06:29.841" v="1658" actId="14100"/>
          <ac:spMkLst>
            <pc:docMk/>
            <pc:sldMk cId="2351847459" sldId="2147482256"/>
            <ac:spMk id="9" creationId="{DBE20DED-04D9-C166-667E-EC3C8699E721}"/>
          </ac:spMkLst>
        </pc:spChg>
        <pc:spChg chg="add mod ord">
          <ac:chgData name="Julia Szafranski" userId="8745bde9-204c-4ba2-8533-1926afce1ce0" providerId="ADAL" clId="{3EDA2417-A6AF-448B-8A77-E734B671213A}" dt="2026-06-03T05:05:32.690" v="1651" actId="255"/>
          <ac:spMkLst>
            <pc:docMk/>
            <pc:sldMk cId="2351847459" sldId="2147482256"/>
            <ac:spMk id="10" creationId="{A622188D-9AC0-F3C8-0C45-2DDBCC571035}"/>
          </ac:spMkLst>
        </pc:spChg>
        <pc:spChg chg="mod">
          <ac:chgData name="Julia Szafranski" userId="8745bde9-204c-4ba2-8533-1926afce1ce0" providerId="ADAL" clId="{3EDA2417-A6AF-448B-8A77-E734B671213A}" dt="2026-05-30T05:50:10.244" v="932" actId="113"/>
          <ac:spMkLst>
            <pc:docMk/>
            <pc:sldMk cId="2351847459" sldId="2147482256"/>
            <ac:spMk id="11" creationId="{C29900C9-7F47-4D85-BABF-94764DABA17E}"/>
          </ac:spMkLst>
        </pc:spChg>
        <pc:spChg chg="add mod">
          <ac:chgData name="Julia Szafranski" userId="8745bde9-204c-4ba2-8533-1926afce1ce0" providerId="ADAL" clId="{3EDA2417-A6AF-448B-8A77-E734B671213A}" dt="2026-06-03T05:06:08.559" v="1655" actId="207"/>
          <ac:spMkLst>
            <pc:docMk/>
            <pc:sldMk cId="2351847459" sldId="2147482256"/>
            <ac:spMk id="13" creationId="{F4CDD1FF-8043-1184-6ED2-4765EF3F7857}"/>
          </ac:spMkLst>
        </pc:spChg>
        <pc:spChg chg="add mod">
          <ac:chgData name="Julia Szafranski" userId="8745bde9-204c-4ba2-8533-1926afce1ce0" providerId="ADAL" clId="{3EDA2417-A6AF-448B-8A77-E734B671213A}" dt="2026-06-03T05:25:48.002" v="1898"/>
          <ac:spMkLst>
            <pc:docMk/>
            <pc:sldMk cId="2351847459" sldId="2147482256"/>
            <ac:spMk id="14" creationId="{0DA9501B-B6D3-86AA-8529-7D75E30B4716}"/>
          </ac:spMkLst>
        </pc:spChg>
        <pc:spChg chg="add mod">
          <ac:chgData name="Julia Szafranski" userId="8745bde9-204c-4ba2-8533-1926afce1ce0" providerId="ADAL" clId="{3EDA2417-A6AF-448B-8A77-E734B671213A}" dt="2026-06-03T05:28:47.642" v="1943"/>
          <ac:spMkLst>
            <pc:docMk/>
            <pc:sldMk cId="2351847459" sldId="2147482256"/>
            <ac:spMk id="15" creationId="{90F3E7A8-2E30-D3BF-67D2-B13698C618F5}"/>
          </ac:spMkLst>
        </pc:spChg>
        <pc:spChg chg="mod">
          <ac:chgData name="Julia Szafranski" userId="8745bde9-204c-4ba2-8533-1926afce1ce0" providerId="ADAL" clId="{3EDA2417-A6AF-448B-8A77-E734B671213A}" dt="2026-06-03T05:56:58.863" v="1963" actId="20577"/>
          <ac:spMkLst>
            <pc:docMk/>
            <pc:sldMk cId="2351847459" sldId="2147482256"/>
            <ac:spMk id="16" creationId="{D560431A-5B94-BAC8-F68D-3644ACCC5033}"/>
          </ac:spMkLst>
        </pc:spChg>
        <pc:picChg chg="add mod">
          <ac:chgData name="Julia Szafranski" userId="8745bde9-204c-4ba2-8533-1926afce1ce0" providerId="ADAL" clId="{3EDA2417-A6AF-448B-8A77-E734B671213A}" dt="2026-06-03T05:28:47.642" v="1943"/>
          <ac:picMkLst>
            <pc:docMk/>
            <pc:sldMk cId="2351847459" sldId="2147482256"/>
            <ac:picMk id="17" creationId="{73C76199-C2F9-B2BD-5300-F4C5D2F2A432}"/>
          </ac:picMkLst>
        </pc:picChg>
      </pc:sldChg>
      <pc:sldChg chg="addSp modSp mod">
        <pc:chgData name="Julia Szafranski" userId="8745bde9-204c-4ba2-8533-1926afce1ce0" providerId="ADAL" clId="{3EDA2417-A6AF-448B-8A77-E734B671213A}" dt="2026-06-03T05:57:43.025" v="1964" actId="20577"/>
        <pc:sldMkLst>
          <pc:docMk/>
          <pc:sldMk cId="3877885486" sldId="2147482257"/>
        </pc:sldMkLst>
        <pc:spChg chg="mod">
          <ac:chgData name="Julia Szafranski" userId="8745bde9-204c-4ba2-8533-1926afce1ce0" providerId="ADAL" clId="{3EDA2417-A6AF-448B-8A77-E734B671213A}" dt="2026-05-30T05:53:40.721" v="1058" actId="947"/>
          <ac:spMkLst>
            <pc:docMk/>
            <pc:sldMk cId="3877885486" sldId="2147482257"/>
            <ac:spMk id="5" creationId="{0C059DAF-3329-7AE1-18F9-E6A63AB71A2C}"/>
          </ac:spMkLst>
        </pc:spChg>
        <pc:spChg chg="mod">
          <ac:chgData name="Julia Szafranski" userId="8745bde9-204c-4ba2-8533-1926afce1ce0" providerId="ADAL" clId="{3EDA2417-A6AF-448B-8A77-E734B671213A}" dt="2026-06-03T05:57:43.025" v="1964" actId="20577"/>
          <ac:spMkLst>
            <pc:docMk/>
            <pc:sldMk cId="3877885486" sldId="2147482257"/>
            <ac:spMk id="6" creationId="{02BF2E04-32D4-2BD9-DDBF-DF1813031186}"/>
          </ac:spMkLst>
        </pc:spChg>
        <pc:spChg chg="add mod">
          <ac:chgData name="Julia Szafranski" userId="8745bde9-204c-4ba2-8533-1926afce1ce0" providerId="ADAL" clId="{3EDA2417-A6AF-448B-8A77-E734B671213A}" dt="2026-06-03T05:25:51.986" v="1899"/>
          <ac:spMkLst>
            <pc:docMk/>
            <pc:sldMk cId="3877885486" sldId="2147482257"/>
            <ac:spMk id="7" creationId="{33EDC0C9-5533-A948-BEEF-1F1BBCEB1E04}"/>
          </ac:spMkLst>
        </pc:spChg>
        <pc:spChg chg="mod">
          <ac:chgData name="Julia Szafranski" userId="8745bde9-204c-4ba2-8533-1926afce1ce0" providerId="ADAL" clId="{3EDA2417-A6AF-448B-8A77-E734B671213A}" dt="2026-05-30T05:51:16.755" v="976" actId="1036"/>
          <ac:spMkLst>
            <pc:docMk/>
            <pc:sldMk cId="3877885486" sldId="2147482257"/>
            <ac:spMk id="10" creationId="{651D5645-8FD1-BBA0-7FB8-3A657123C661}"/>
          </ac:spMkLst>
        </pc:spChg>
        <pc:spChg chg="mod">
          <ac:chgData name="Julia Szafranski" userId="8745bde9-204c-4ba2-8533-1926afce1ce0" providerId="ADAL" clId="{3EDA2417-A6AF-448B-8A77-E734B671213A}" dt="2026-05-30T05:50:56.722" v="968" actId="113"/>
          <ac:spMkLst>
            <pc:docMk/>
            <pc:sldMk cId="3877885486" sldId="2147482257"/>
            <ac:spMk id="11" creationId="{C29900C9-7F47-4D85-BABF-94764DABA17E}"/>
          </ac:spMkLst>
        </pc:spChg>
        <pc:spChg chg="mod">
          <ac:chgData name="Julia Szafranski" userId="8745bde9-204c-4ba2-8533-1926afce1ce0" providerId="ADAL" clId="{3EDA2417-A6AF-448B-8A77-E734B671213A}" dt="2026-06-03T05:15:04.721" v="1878" actId="20577"/>
          <ac:spMkLst>
            <pc:docMk/>
            <pc:sldMk cId="3877885486" sldId="2147482257"/>
            <ac:spMk id="13" creationId="{6335A5B2-7D7E-DADD-44D5-5810E1442049}"/>
          </ac:spMkLst>
        </pc:spChg>
        <pc:spChg chg="mod">
          <ac:chgData name="Julia Szafranski" userId="8745bde9-204c-4ba2-8533-1926afce1ce0" providerId="ADAL" clId="{3EDA2417-A6AF-448B-8A77-E734B671213A}" dt="2026-05-30T05:51:29.433" v="981" actId="1035"/>
          <ac:spMkLst>
            <pc:docMk/>
            <pc:sldMk cId="3877885486" sldId="2147482257"/>
            <ac:spMk id="14" creationId="{3DD1A212-C8DF-9FED-2ADC-0BE8F96020A2}"/>
          </ac:spMkLst>
        </pc:spChg>
        <pc:spChg chg="add mod">
          <ac:chgData name="Julia Szafranski" userId="8745bde9-204c-4ba2-8533-1926afce1ce0" providerId="ADAL" clId="{3EDA2417-A6AF-448B-8A77-E734B671213A}" dt="2026-06-03T05:28:51.258" v="1944"/>
          <ac:spMkLst>
            <pc:docMk/>
            <pc:sldMk cId="3877885486" sldId="2147482257"/>
            <ac:spMk id="15" creationId="{573F1D8F-7345-19A0-44F3-60825CCDAD86}"/>
          </ac:spMkLst>
        </pc:spChg>
        <pc:picChg chg="add mod">
          <ac:chgData name="Julia Szafranski" userId="8745bde9-204c-4ba2-8533-1926afce1ce0" providerId="ADAL" clId="{3EDA2417-A6AF-448B-8A77-E734B671213A}" dt="2026-06-03T05:28:51.258" v="1944"/>
          <ac:picMkLst>
            <pc:docMk/>
            <pc:sldMk cId="3877885486" sldId="2147482257"/>
            <ac:picMk id="16" creationId="{860CC651-8CE0-F57F-6F5B-FC3037D03F14}"/>
          </ac:picMkLst>
        </pc:picChg>
      </pc:sldChg>
      <pc:sldChg chg="addSp modSp mod">
        <pc:chgData name="Julia Szafranski" userId="8745bde9-204c-4ba2-8533-1926afce1ce0" providerId="ADAL" clId="{3EDA2417-A6AF-448B-8A77-E734B671213A}" dt="2026-06-03T05:28:55.192" v="1945"/>
        <pc:sldMkLst>
          <pc:docMk/>
          <pc:sldMk cId="1151313673" sldId="2147482258"/>
        </pc:sldMkLst>
        <pc:spChg chg="mod">
          <ac:chgData name="Julia Szafranski" userId="8745bde9-204c-4ba2-8533-1926afce1ce0" providerId="ADAL" clId="{3EDA2417-A6AF-448B-8A77-E734B671213A}" dt="2026-05-30T05:51:59.474" v="986" actId="947"/>
          <ac:spMkLst>
            <pc:docMk/>
            <pc:sldMk cId="1151313673" sldId="2147482258"/>
            <ac:spMk id="2" creationId="{BF8376AE-B137-1E46-D227-C7AA0C8A927B}"/>
          </ac:spMkLst>
        </pc:spChg>
        <pc:spChg chg="add mod">
          <ac:chgData name="Julia Szafranski" userId="8745bde9-204c-4ba2-8533-1926afce1ce0" providerId="ADAL" clId="{3EDA2417-A6AF-448B-8A77-E734B671213A}" dt="2026-06-03T05:25:56.711" v="1900"/>
          <ac:spMkLst>
            <pc:docMk/>
            <pc:sldMk cId="1151313673" sldId="2147482258"/>
            <ac:spMk id="3" creationId="{7B3EE9BC-6B48-37C8-A506-469070DF9389}"/>
          </ac:spMkLst>
        </pc:spChg>
        <pc:spChg chg="mod">
          <ac:chgData name="Julia Szafranski" userId="8745bde9-204c-4ba2-8533-1926afce1ce0" providerId="ADAL" clId="{3EDA2417-A6AF-448B-8A77-E734B671213A}" dt="2026-05-30T05:53:46.362" v="1059" actId="947"/>
          <ac:spMkLst>
            <pc:docMk/>
            <pc:sldMk cId="1151313673" sldId="2147482258"/>
            <ac:spMk id="5" creationId="{0C059DAF-3329-7AE1-18F9-E6A63AB71A2C}"/>
          </ac:spMkLst>
        </pc:spChg>
        <pc:spChg chg="mod">
          <ac:chgData name="Julia Szafranski" userId="8745bde9-204c-4ba2-8533-1926afce1ce0" providerId="ADAL" clId="{3EDA2417-A6AF-448B-8A77-E734B671213A}" dt="2026-06-03T05:15:14.242" v="1892" actId="20577"/>
          <ac:spMkLst>
            <pc:docMk/>
            <pc:sldMk cId="1151313673" sldId="2147482258"/>
            <ac:spMk id="6" creationId="{55C4858A-6D05-E91E-2A32-E8CB163B7476}"/>
          </ac:spMkLst>
        </pc:spChg>
        <pc:spChg chg="mod">
          <ac:chgData name="Julia Szafranski" userId="8745bde9-204c-4ba2-8533-1926afce1ce0" providerId="ADAL" clId="{3EDA2417-A6AF-448B-8A77-E734B671213A}" dt="2026-05-30T05:51:49.716" v="984" actId="113"/>
          <ac:spMkLst>
            <pc:docMk/>
            <pc:sldMk cId="1151313673" sldId="2147482258"/>
            <ac:spMk id="11" creationId="{C29900C9-7F47-4D85-BABF-94764DABA17E}"/>
          </ac:spMkLst>
        </pc:spChg>
        <pc:spChg chg="add mod">
          <ac:chgData name="Julia Szafranski" userId="8745bde9-204c-4ba2-8533-1926afce1ce0" providerId="ADAL" clId="{3EDA2417-A6AF-448B-8A77-E734B671213A}" dt="2026-06-03T05:28:55.192" v="1945"/>
          <ac:spMkLst>
            <pc:docMk/>
            <pc:sldMk cId="1151313673" sldId="2147482258"/>
            <ac:spMk id="13" creationId="{16CB0090-6C54-C247-6082-4A9FCCF1D303}"/>
          </ac:spMkLst>
        </pc:spChg>
        <pc:spChg chg="mod">
          <ac:chgData name="Julia Szafranski" userId="8745bde9-204c-4ba2-8533-1926afce1ce0" providerId="ADAL" clId="{3EDA2417-A6AF-448B-8A77-E734B671213A}" dt="2026-05-30T05:51:54.290" v="985" actId="947"/>
          <ac:spMkLst>
            <pc:docMk/>
            <pc:sldMk cId="1151313673" sldId="2147482258"/>
            <ac:spMk id="14" creationId="{AB45EE69-EFC2-9A55-5F30-D18B455FF875}"/>
          </ac:spMkLst>
        </pc:spChg>
        <pc:picChg chg="add mod">
          <ac:chgData name="Julia Szafranski" userId="8745bde9-204c-4ba2-8533-1926afce1ce0" providerId="ADAL" clId="{3EDA2417-A6AF-448B-8A77-E734B671213A}" dt="2026-06-03T05:28:55.192" v="1945"/>
          <ac:picMkLst>
            <pc:docMk/>
            <pc:sldMk cId="1151313673" sldId="2147482258"/>
            <ac:picMk id="15" creationId="{BCCFE34B-EEFC-52F6-EDB5-F39240DC3D77}"/>
          </ac:picMkLst>
        </pc:picChg>
      </pc:sldChg>
      <pc:sldChg chg="del">
        <pc:chgData name="Julia Szafranski" userId="8745bde9-204c-4ba2-8533-1926afce1ce0" providerId="ADAL" clId="{3EDA2417-A6AF-448B-8A77-E734B671213A}" dt="2026-05-30T05:32:01.641" v="810" actId="47"/>
        <pc:sldMkLst>
          <pc:docMk/>
          <pc:sldMk cId="2267345866" sldId="2147482260"/>
        </pc:sldMkLst>
      </pc:sldChg>
      <pc:sldChg chg="addSp delSp modSp mod">
        <pc:chgData name="Julia Szafranski" userId="8745bde9-204c-4ba2-8533-1926afce1ce0" providerId="ADAL" clId="{3EDA2417-A6AF-448B-8A77-E734B671213A}" dt="2026-06-03T05:30:36.384" v="1955" actId="1038"/>
        <pc:sldMkLst>
          <pc:docMk/>
          <pc:sldMk cId="792489649" sldId="2147482266"/>
        </pc:sldMkLst>
        <pc:spChg chg="add del">
          <ac:chgData name="Julia Szafranski" userId="8745bde9-204c-4ba2-8533-1926afce1ce0" providerId="ADAL" clId="{3EDA2417-A6AF-448B-8A77-E734B671213A}" dt="2026-06-03T05:30:24.056" v="1950" actId="478"/>
          <ac:spMkLst>
            <pc:docMk/>
            <pc:sldMk cId="792489649" sldId="2147482266"/>
            <ac:spMk id="3" creationId="{E6C53172-100E-1726-4BAE-4FFAE4B009E3}"/>
          </ac:spMkLst>
        </pc:spChg>
        <pc:picChg chg="mod">
          <ac:chgData name="Julia Szafranski" userId="8745bde9-204c-4ba2-8533-1926afce1ce0" providerId="ADAL" clId="{3EDA2417-A6AF-448B-8A77-E734B671213A}" dt="2026-06-03T05:30:21.652" v="1949" actId="962"/>
          <ac:picMkLst>
            <pc:docMk/>
            <pc:sldMk cId="792489649" sldId="2147482266"/>
            <ac:picMk id="4" creationId="{EF5AF13B-4DFC-0B82-4E74-09926CDE6A14}"/>
          </ac:picMkLst>
        </pc:picChg>
        <pc:picChg chg="add mod">
          <ac:chgData name="Julia Szafranski" userId="8745bde9-204c-4ba2-8533-1926afce1ce0" providerId="ADAL" clId="{3EDA2417-A6AF-448B-8A77-E734B671213A}" dt="2026-06-03T05:30:36.384" v="1955" actId="1038"/>
          <ac:picMkLst>
            <pc:docMk/>
            <pc:sldMk cId="792489649" sldId="2147482266"/>
            <ac:picMk id="5" creationId="{4FEE005B-96D8-7418-AACB-7E8DE3E57C2B}"/>
          </ac:picMkLst>
        </pc:picChg>
      </pc:sldChg>
      <pc:sldChg chg="delSp modSp add del mod">
        <pc:chgData name="Julia Szafranski" userId="8745bde9-204c-4ba2-8533-1926afce1ce0" providerId="ADAL" clId="{3EDA2417-A6AF-448B-8A77-E734B671213A}" dt="2026-05-30T05:46:55.255" v="887" actId="47"/>
        <pc:sldMkLst>
          <pc:docMk/>
          <pc:sldMk cId="2318069933" sldId="2147482267"/>
        </pc:sldMkLst>
      </pc:sldChg>
      <pc:sldChg chg="del">
        <pc:chgData name="Julia Szafranski" userId="8745bde9-204c-4ba2-8533-1926afce1ce0" providerId="ADAL" clId="{3EDA2417-A6AF-448B-8A77-E734B671213A}" dt="2026-05-30T05:32:18.920" v="820" actId="47"/>
        <pc:sldMkLst>
          <pc:docMk/>
          <pc:sldMk cId="252190312" sldId="2147482272"/>
        </pc:sldMkLst>
      </pc:sldChg>
      <pc:sldChg chg="del">
        <pc:chgData name="Julia Szafranski" userId="8745bde9-204c-4ba2-8533-1926afce1ce0" providerId="ADAL" clId="{3EDA2417-A6AF-448B-8A77-E734B671213A}" dt="2026-05-30T05:32:14.536" v="819" actId="47"/>
        <pc:sldMkLst>
          <pc:docMk/>
          <pc:sldMk cId="3144306642" sldId="2147482273"/>
        </pc:sldMkLst>
      </pc:sldChg>
      <pc:sldChg chg="del">
        <pc:chgData name="Julia Szafranski" userId="8745bde9-204c-4ba2-8533-1926afce1ce0" providerId="ADAL" clId="{3EDA2417-A6AF-448B-8A77-E734B671213A}" dt="2026-05-30T05:32:06.810" v="811" actId="47"/>
        <pc:sldMkLst>
          <pc:docMk/>
          <pc:sldMk cId="1284246032" sldId="2147482274"/>
        </pc:sldMkLst>
      </pc:sldChg>
      <pc:sldMasterChg chg="modSldLayout">
        <pc:chgData name="Julia Szafranski" userId="8745bde9-204c-4ba2-8533-1926afce1ce0" providerId="ADAL" clId="{3EDA2417-A6AF-448B-8A77-E734B671213A}" dt="2026-06-03T05:27:31.277" v="1926"/>
        <pc:sldMasterMkLst>
          <pc:docMk/>
          <pc:sldMasterMk cId="2264729620" sldId="2147483648"/>
        </pc:sldMasterMkLst>
        <pc:sldLayoutChg chg="modSp">
          <pc:chgData name="Julia Szafranski" userId="8745bde9-204c-4ba2-8533-1926afce1ce0" providerId="ADAL" clId="{3EDA2417-A6AF-448B-8A77-E734B671213A}" dt="2026-06-03T05:27:31.277" v="1926"/>
          <pc:sldLayoutMkLst>
            <pc:docMk/>
            <pc:sldMasterMk cId="2264729620" sldId="2147483648"/>
            <pc:sldLayoutMk cId="4249055442" sldId="2147483663"/>
          </pc:sldLayoutMkLst>
          <pc:spChg chg="mod">
            <ac:chgData name="Julia Szafranski" userId="8745bde9-204c-4ba2-8533-1926afce1ce0" providerId="ADAL" clId="{3EDA2417-A6AF-448B-8A77-E734B671213A}" dt="2026-06-03T05:27:31.277" v="1922"/>
            <ac:spMkLst>
              <pc:docMk/>
              <pc:sldMasterMk cId="2264729620" sldId="2147483648"/>
              <pc:sldLayoutMk cId="4249055442" sldId="2147483663"/>
              <ac:spMk id="8" creationId="{398F66B9-BCC0-498C-90EC-8CDC6A8B006D}"/>
            </ac:spMkLst>
          </pc:spChg>
          <pc:spChg chg="mod">
            <ac:chgData name="Julia Szafranski" userId="8745bde9-204c-4ba2-8533-1926afce1ce0" providerId="ADAL" clId="{3EDA2417-A6AF-448B-8A77-E734B671213A}" dt="2026-06-03T05:27:31.277" v="1924"/>
            <ac:spMkLst>
              <pc:docMk/>
              <pc:sldMasterMk cId="2264729620" sldId="2147483648"/>
              <pc:sldLayoutMk cId="4249055442" sldId="2147483663"/>
              <ac:spMk id="10" creationId="{A27B272F-0A02-4556-8035-1AFBA7037082}"/>
            </ac:spMkLst>
          </pc:spChg>
          <pc:spChg chg="mod">
            <ac:chgData name="Julia Szafranski" userId="8745bde9-204c-4ba2-8533-1926afce1ce0" providerId="ADAL" clId="{3EDA2417-A6AF-448B-8A77-E734B671213A}" dt="2026-06-03T05:27:31.277" v="1926"/>
            <ac:spMkLst>
              <pc:docMk/>
              <pc:sldMasterMk cId="2264729620" sldId="2147483648"/>
              <pc:sldLayoutMk cId="4249055442" sldId="2147483663"/>
              <ac:spMk id="12" creationId="{F6F306AD-528B-44F2-97F6-C1072B0EEA69}"/>
            </ac:spMkLst>
          </pc:spChg>
        </pc:sldLayoutChg>
        <pc:sldLayoutChg chg="modSp mod">
          <pc:chgData name="Julia Szafranski" userId="8745bde9-204c-4ba2-8533-1926afce1ce0" providerId="ADAL" clId="{3EDA2417-A6AF-448B-8A77-E734B671213A}" dt="2026-05-30T05:54:25.138" v="1077"/>
          <pc:sldLayoutMkLst>
            <pc:docMk/>
            <pc:sldMasterMk cId="2264729620" sldId="2147483648"/>
            <pc:sldLayoutMk cId="3453439750" sldId="2147483677"/>
          </pc:sldLayoutMkLst>
          <pc:spChg chg="mod">
            <ac:chgData name="Julia Szafranski" userId="8745bde9-204c-4ba2-8533-1926afce1ce0" providerId="ADAL" clId="{3EDA2417-A6AF-448B-8A77-E734B671213A}" dt="2026-05-30T05:54:25.138" v="1077"/>
            <ac:spMkLst>
              <pc:docMk/>
              <pc:sldMasterMk cId="2264729620" sldId="2147483648"/>
              <pc:sldLayoutMk cId="3453439750" sldId="2147483677"/>
              <ac:spMk id="9" creationId="{0B07DB40-DBD6-4EA1-8E67-8EA03178A609}"/>
            </ac:spMkLst>
          </pc:spChg>
          <pc:spChg chg="mod">
            <ac:chgData name="Julia Szafranski" userId="8745bde9-204c-4ba2-8533-1926afce1ce0" providerId="ADAL" clId="{3EDA2417-A6AF-448B-8A77-E734B671213A}" dt="2026-05-30T05:54:25.138" v="1075"/>
            <ac:spMkLst>
              <pc:docMk/>
              <pc:sldMasterMk cId="2264729620" sldId="2147483648"/>
              <pc:sldLayoutMk cId="3453439750" sldId="2147483677"/>
              <ac:spMk id="11" creationId="{D1D1ADD7-19FC-466D-A511-110F40BCABA8}"/>
            </ac:spMkLst>
          </pc:spChg>
        </pc:sldLayoutChg>
      </pc:sldMasterChg>
      <pc:sldMasterChg chg="del delSldLayout">
        <pc:chgData name="Julia Szafranski" userId="8745bde9-204c-4ba2-8533-1926afce1ce0" providerId="ADAL" clId="{3EDA2417-A6AF-448B-8A77-E734B671213A}" dt="2026-05-30T05:32:12.971" v="818" actId="47"/>
        <pc:sldMasterMkLst>
          <pc:docMk/>
          <pc:sldMasterMk cId="1607276206" sldId="2147483695"/>
        </pc:sldMasterMkLst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1502945158" sldId="2147483696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3476835596" sldId="2147483697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1137587061" sldId="2147483698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2184395610" sldId="2147483699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200239480" sldId="2147483700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185394250" sldId="2147483701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3752254370" sldId="2147483702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1852443641" sldId="2147483703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2876806661" sldId="2147483704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3587525036" sldId="2147483705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1283631972" sldId="2147483706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4208540784" sldId="2147483707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1498836260" sldId="2147483708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2904951471" sldId="2147483709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2966696238" sldId="2147483710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2701412955" sldId="2147483711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1659999227" sldId="2147483712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4031428343" sldId="2147483713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2821380590" sldId="2147483714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2957183535" sldId="2147483715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3145144154" sldId="2147483716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3912565361" sldId="2147483717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4058004425" sldId="2147483718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2950203072" sldId="2147483719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2141942347" sldId="2147483720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2568252201" sldId="2147483721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2140444188" sldId="2147483722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4187089083" sldId="2147483723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3691636416" sldId="2147483724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1686916446" sldId="2147483725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2144654243" sldId="2147483726"/>
          </pc:sldLayoutMkLst>
        </pc:sldLayoutChg>
        <pc:sldLayoutChg chg="del">
          <pc:chgData name="Julia Szafranski" userId="8745bde9-204c-4ba2-8533-1926afce1ce0" providerId="ADAL" clId="{3EDA2417-A6AF-448B-8A77-E734B671213A}" dt="2026-05-30T05:32:12.971" v="818" actId="47"/>
          <pc:sldLayoutMkLst>
            <pc:docMk/>
            <pc:sldMasterMk cId="1607276206" sldId="2147483695"/>
            <pc:sldLayoutMk cId="1903953720" sldId="2147483727"/>
          </pc:sldLayoutMkLst>
        </pc:sldLayoutChg>
        <pc:sldLayoutChg chg="del">
          <pc:chgData name="Julia Szafranski" userId="8745bde9-204c-4ba2-8533-1926afce1ce0" providerId="ADAL" clId="{3EDA2417-A6AF-448B-8A77-E734B671213A}" dt="2026-05-30T05:32:11.516" v="817" actId="47"/>
          <pc:sldLayoutMkLst>
            <pc:docMk/>
            <pc:sldMasterMk cId="1607276206" sldId="2147483695"/>
            <pc:sldLayoutMk cId="2374247145" sldId="2147483728"/>
          </pc:sldLayoutMkLst>
        </pc:sldLayoutChg>
      </pc:sldMasterChg>
    </pc:docChg>
  </pc:docChgLst>
  <pc:docChgLst>
    <pc:chgData name="Julia Szafranski" userId="8745bde9-204c-4ba2-8533-1926afce1ce0" providerId="ADAL" clId="{904103AD-159D-4DD9-BE1A-2070C0A02B5A}"/>
    <pc:docChg chg="undo custSel addSld delSld modSld sldOrd modMainMaster modSection">
      <pc:chgData name="Julia Szafranski" userId="8745bde9-204c-4ba2-8533-1926afce1ce0" providerId="ADAL" clId="{904103AD-159D-4DD9-BE1A-2070C0A02B5A}" dt="2026-01-13T12:31:15.858" v="1640" actId="255"/>
      <pc:docMkLst>
        <pc:docMk/>
      </pc:docMkLst>
      <pc:sldChg chg="modSp mod">
        <pc:chgData name="Julia Szafranski" userId="8745bde9-204c-4ba2-8533-1926afce1ce0" providerId="ADAL" clId="{904103AD-159D-4DD9-BE1A-2070C0A02B5A}" dt="2026-01-09T11:06:08.883" v="179" actId="20577"/>
        <pc:sldMkLst>
          <pc:docMk/>
          <pc:sldMk cId="209852625" sldId="400"/>
        </pc:sldMkLst>
      </pc:sldChg>
      <pc:sldChg chg="addSp delSp modSp mod">
        <pc:chgData name="Julia Szafranski" userId="8745bde9-204c-4ba2-8533-1926afce1ce0" providerId="ADAL" clId="{904103AD-159D-4DD9-BE1A-2070C0A02B5A}" dt="2026-01-13T12:30:11.138" v="1632" actId="255"/>
        <pc:sldMkLst>
          <pc:docMk/>
          <pc:sldMk cId="3788936799" sldId="1177"/>
        </pc:sldMkLst>
      </pc:sldChg>
      <pc:sldChg chg="addSp delSp modSp add mod">
        <pc:chgData name="Julia Szafranski" userId="8745bde9-204c-4ba2-8533-1926afce1ce0" providerId="ADAL" clId="{904103AD-159D-4DD9-BE1A-2070C0A02B5A}" dt="2026-01-09T11:06:29.426" v="189" actId="20577"/>
        <pc:sldMkLst>
          <pc:docMk/>
          <pc:sldMk cId="2526136143" sldId="10208"/>
        </pc:sldMkLst>
      </pc:sldChg>
      <pc:sldChg chg="addSp delSp modSp mod">
        <pc:chgData name="Julia Szafranski" userId="8745bde9-204c-4ba2-8533-1926afce1ce0" providerId="ADAL" clId="{904103AD-159D-4DD9-BE1A-2070C0A02B5A}" dt="2026-01-13T12:30:28.755" v="1634" actId="255"/>
        <pc:sldMkLst>
          <pc:docMk/>
          <pc:sldMk cId="3410054299" sldId="10250"/>
        </pc:sldMkLst>
      </pc:sldChg>
      <pc:sldChg chg="addSp delSp modSp mod">
        <pc:chgData name="Julia Szafranski" userId="8745bde9-204c-4ba2-8533-1926afce1ce0" providerId="ADAL" clId="{904103AD-159D-4DD9-BE1A-2070C0A02B5A}" dt="2026-01-13T12:31:15.858" v="1640" actId="255"/>
        <pc:sldMkLst>
          <pc:docMk/>
          <pc:sldMk cId="483449317" sldId="2134808623"/>
        </pc:sldMkLst>
      </pc:sldChg>
      <pc:sldChg chg="addSp delSp modSp mod">
        <pc:chgData name="Julia Szafranski" userId="8745bde9-204c-4ba2-8533-1926afce1ce0" providerId="ADAL" clId="{904103AD-159D-4DD9-BE1A-2070C0A02B5A}" dt="2026-01-13T12:29:37.446" v="1627" actId="947"/>
        <pc:sldMkLst>
          <pc:docMk/>
          <pc:sldMk cId="1103475415" sldId="2134808627"/>
        </pc:sldMkLst>
      </pc:sldChg>
      <pc:sldChg chg="addSp delSp modSp mod">
        <pc:chgData name="Julia Szafranski" userId="8745bde9-204c-4ba2-8533-1926afce1ce0" providerId="ADAL" clId="{904103AD-159D-4DD9-BE1A-2070C0A02B5A}" dt="2026-01-13T12:30:16.528" v="1633" actId="255"/>
        <pc:sldMkLst>
          <pc:docMk/>
          <pc:sldMk cId="437614793" sldId="2134808690"/>
        </pc:sldMkLst>
      </pc:sldChg>
      <pc:sldChg chg="addSp delSp modSp mod">
        <pc:chgData name="Julia Szafranski" userId="8745bde9-204c-4ba2-8533-1926afce1ce0" providerId="ADAL" clId="{904103AD-159D-4DD9-BE1A-2070C0A02B5A}" dt="2026-01-13T12:30:52.395" v="1637" actId="255"/>
        <pc:sldMkLst>
          <pc:docMk/>
          <pc:sldMk cId="3698023474" sldId="2134808706"/>
        </pc:sldMkLst>
      </pc:sldChg>
      <pc:sldChg chg="addSp delSp modSp mod">
        <pc:chgData name="Julia Szafranski" userId="8745bde9-204c-4ba2-8533-1926afce1ce0" providerId="ADAL" clId="{904103AD-159D-4DD9-BE1A-2070C0A02B5A}" dt="2026-01-13T12:30:40.377" v="1635" actId="113"/>
        <pc:sldMkLst>
          <pc:docMk/>
          <pc:sldMk cId="1967873147" sldId="2134808709"/>
        </pc:sldMkLst>
      </pc:sldChg>
      <pc:sldChg chg="modSp mod">
        <pc:chgData name="Julia Szafranski" userId="8745bde9-204c-4ba2-8533-1926afce1ce0" providerId="ADAL" clId="{904103AD-159D-4DD9-BE1A-2070C0A02B5A}" dt="2026-01-09T11:06:12.220" v="181" actId="20577"/>
        <pc:sldMkLst>
          <pc:docMk/>
          <pc:sldMk cId="2950365949" sldId="2147482208"/>
        </pc:sldMkLst>
      </pc:sldChg>
      <pc:sldChg chg="modSp mod">
        <pc:chgData name="Julia Szafranski" userId="8745bde9-204c-4ba2-8533-1926afce1ce0" providerId="ADAL" clId="{904103AD-159D-4DD9-BE1A-2070C0A02B5A}" dt="2026-01-09T11:01:12.125" v="135" actId="20577"/>
        <pc:sldMkLst>
          <pc:docMk/>
          <pc:sldMk cId="3920216399" sldId="2147482255"/>
        </pc:sldMkLst>
      </pc:sldChg>
      <pc:sldChg chg="modSp mod">
        <pc:chgData name="Julia Szafranski" userId="8745bde9-204c-4ba2-8533-1926afce1ce0" providerId="ADAL" clId="{904103AD-159D-4DD9-BE1A-2070C0A02B5A}" dt="2026-01-09T11:06:16.013" v="183" actId="20577"/>
        <pc:sldMkLst>
          <pc:docMk/>
          <pc:sldMk cId="2351847459" sldId="2147482256"/>
        </pc:sldMkLst>
      </pc:sldChg>
      <pc:sldChg chg="modSp mod">
        <pc:chgData name="Julia Szafranski" userId="8745bde9-204c-4ba2-8533-1926afce1ce0" providerId="ADAL" clId="{904103AD-159D-4DD9-BE1A-2070C0A02B5A}" dt="2026-01-09T11:06:20.363" v="185" actId="20577"/>
        <pc:sldMkLst>
          <pc:docMk/>
          <pc:sldMk cId="3877885486" sldId="2147482257"/>
        </pc:sldMkLst>
      </pc:sldChg>
      <pc:sldChg chg="modSp mod">
        <pc:chgData name="Julia Szafranski" userId="8745bde9-204c-4ba2-8533-1926afce1ce0" providerId="ADAL" clId="{904103AD-159D-4DD9-BE1A-2070C0A02B5A}" dt="2026-01-09T11:06:24.443" v="187" actId="20577"/>
        <pc:sldMkLst>
          <pc:docMk/>
          <pc:sldMk cId="1151313673" sldId="2147482258"/>
        </pc:sldMkLst>
      </pc:sldChg>
      <pc:sldChg chg="addSp modSp del mod">
        <pc:chgData name="Julia Szafranski" userId="8745bde9-204c-4ba2-8533-1926afce1ce0" providerId="ADAL" clId="{904103AD-159D-4DD9-BE1A-2070C0A02B5A}" dt="2026-01-09T11:57:46.685" v="844" actId="47"/>
        <pc:sldMkLst>
          <pc:docMk/>
          <pc:sldMk cId="3263472656" sldId="2147482259"/>
        </pc:sldMkLst>
      </pc:sldChg>
      <pc:sldChg chg="addSp delSp modSp add mod">
        <pc:chgData name="Julia Szafranski" userId="8745bde9-204c-4ba2-8533-1926afce1ce0" providerId="ADAL" clId="{904103AD-159D-4DD9-BE1A-2070C0A02B5A}" dt="2026-01-09T11:06:33.940" v="191" actId="20577"/>
        <pc:sldMkLst>
          <pc:docMk/>
          <pc:sldMk cId="2267345866" sldId="2147482260"/>
        </pc:sldMkLst>
      </pc:sldChg>
      <pc:sldChg chg="ord">
        <pc:chgData name="Julia Szafranski" userId="8745bde9-204c-4ba2-8533-1926afce1ce0" providerId="ADAL" clId="{904103AD-159D-4DD9-BE1A-2070C0A02B5A}" dt="2026-01-09T11:06:59.434" v="193"/>
        <pc:sldMkLst>
          <pc:docMk/>
          <pc:sldMk cId="792489649" sldId="2147482266"/>
        </pc:sldMkLst>
      </pc:sldChg>
      <pc:sldChg chg="addSp delSp modSp add mod setBg modClrScheme chgLayout">
        <pc:chgData name="Julia Szafranski" userId="8745bde9-204c-4ba2-8533-1926afce1ce0" providerId="ADAL" clId="{904103AD-159D-4DD9-BE1A-2070C0A02B5A}" dt="2026-01-13T12:11:53.012" v="1536" actId="20577"/>
        <pc:sldMkLst>
          <pc:docMk/>
          <pc:sldMk cId="252190312" sldId="2147482272"/>
        </pc:sldMkLst>
      </pc:sldChg>
      <pc:sldChg chg="delSp modSp add mod">
        <pc:chgData name="Julia Szafranski" userId="8745bde9-204c-4ba2-8533-1926afce1ce0" providerId="ADAL" clId="{904103AD-159D-4DD9-BE1A-2070C0A02B5A}" dt="2026-01-13T12:02:49.417" v="1327" actId="6549"/>
        <pc:sldMkLst>
          <pc:docMk/>
          <pc:sldMk cId="3144306642" sldId="2147482273"/>
        </pc:sldMkLst>
      </pc:sldChg>
      <pc:sldChg chg="add del">
        <pc:chgData name="Julia Szafranski" userId="8745bde9-204c-4ba2-8533-1926afce1ce0" providerId="ADAL" clId="{904103AD-159D-4DD9-BE1A-2070C0A02B5A}" dt="2026-01-09T11:25:23.267" v="469" actId="47"/>
        <pc:sldMkLst>
          <pc:docMk/>
          <pc:sldMk cId="645953510" sldId="2147482274"/>
        </pc:sldMkLst>
      </pc:sldChg>
      <pc:sldChg chg="modSp add mod">
        <pc:chgData name="Julia Szafranski" userId="8745bde9-204c-4ba2-8533-1926afce1ce0" providerId="ADAL" clId="{904103AD-159D-4DD9-BE1A-2070C0A02B5A}" dt="2026-01-13T12:01:22.452" v="1322" actId="20577"/>
        <pc:sldMkLst>
          <pc:docMk/>
          <pc:sldMk cId="1284246032" sldId="2147482274"/>
        </pc:sldMkLst>
      </pc:sldChg>
      <pc:sldChg chg="add del">
        <pc:chgData name="Julia Szafranski" userId="8745bde9-204c-4ba2-8533-1926afce1ce0" providerId="ADAL" clId="{904103AD-159D-4DD9-BE1A-2070C0A02B5A}" dt="2026-01-09T11:25:27.333" v="471" actId="47"/>
        <pc:sldMkLst>
          <pc:docMk/>
          <pc:sldMk cId="2423780823" sldId="2147482274"/>
        </pc:sldMkLst>
      </pc:sldChg>
      <pc:sldChg chg="addSp delSp modSp add del mod">
        <pc:chgData name="Julia Szafranski" userId="8745bde9-204c-4ba2-8533-1926afce1ce0" providerId="ADAL" clId="{904103AD-159D-4DD9-BE1A-2070C0A02B5A}" dt="2026-01-13T11:57:16.724" v="1050" actId="47"/>
        <pc:sldMkLst>
          <pc:docMk/>
          <pc:sldMk cId="3064425658" sldId="2147482274"/>
        </pc:sldMkLst>
      </pc:sldChg>
      <pc:sldChg chg="modSp add del mod">
        <pc:chgData name="Julia Szafranski" userId="8745bde9-204c-4ba2-8533-1926afce1ce0" providerId="ADAL" clId="{904103AD-159D-4DD9-BE1A-2070C0A02B5A}" dt="2026-01-13T11:57:21.451" v="1051" actId="47"/>
        <pc:sldMkLst>
          <pc:docMk/>
          <pc:sldMk cId="1049353382" sldId="2147482275"/>
        </pc:sldMkLst>
      </pc:sldChg>
      <pc:sldChg chg="add del">
        <pc:chgData name="Julia Szafranski" userId="8745bde9-204c-4ba2-8533-1926afce1ce0" providerId="ADAL" clId="{904103AD-159D-4DD9-BE1A-2070C0A02B5A}" dt="2026-01-09T12:01:17.081" v="845" actId="47"/>
        <pc:sldMkLst>
          <pc:docMk/>
          <pc:sldMk cId="52655547" sldId="2147482276"/>
        </pc:sldMkLst>
      </pc:sldChg>
      <pc:sldMasterChg chg="modSldLayout">
        <pc:chgData name="Julia Szafranski" userId="8745bde9-204c-4ba2-8533-1926afce1ce0" providerId="ADAL" clId="{904103AD-159D-4DD9-BE1A-2070C0A02B5A}" dt="2026-01-09T11:01:12.125" v="141"/>
        <pc:sldMasterMkLst>
          <pc:docMk/>
          <pc:sldMasterMk cId="2264729620" sldId="2147483648"/>
        </pc:sldMasterMkLst>
        <pc:sldLayoutChg chg="modSp">
          <pc:chgData name="Julia Szafranski" userId="8745bde9-204c-4ba2-8533-1926afce1ce0" providerId="ADAL" clId="{904103AD-159D-4DD9-BE1A-2070C0A02B5A}" dt="2026-01-09T11:01:12.125" v="141"/>
          <pc:sldLayoutMkLst>
            <pc:docMk/>
            <pc:sldMasterMk cId="2264729620" sldId="2147483648"/>
            <pc:sldLayoutMk cId="4249055442" sldId="2147483663"/>
          </pc:sldLayoutMkLst>
        </pc:sldLayoutChg>
      </pc:sldMasterChg>
    </pc:docChg>
  </pc:docChgLst>
  <pc:docChgLst>
    <pc:chgData name="Moritz Sondermann" userId="S::moritz.sondermann@deutschebahn.com::f3df79dc-4a87-42bc-8fdd-1040881b5c9a" providerId="AD" clId="Web-{AA03278E-043F-6600-D7CA-EE15EC31B65F}"/>
    <pc:docChg chg="sldOrd">
      <pc:chgData name="Moritz Sondermann" userId="S::moritz.sondermann@deutschebahn.com::f3df79dc-4a87-42bc-8fdd-1040881b5c9a" providerId="AD" clId="Web-{AA03278E-043F-6600-D7CA-EE15EC31B65F}" dt="2026-01-09T12:30:30.372" v="0"/>
      <pc:docMkLst>
        <pc:docMk/>
      </pc:docMkLst>
      <pc:sldChg chg="ord">
        <pc:chgData name="Moritz Sondermann" userId="S::moritz.sondermann@deutschebahn.com::f3df79dc-4a87-42bc-8fdd-1040881b5c9a" providerId="AD" clId="Web-{AA03278E-043F-6600-D7CA-EE15EC31B65F}" dt="2026-01-09T12:30:30.372" v="0"/>
        <pc:sldMkLst>
          <pc:docMk/>
          <pc:sldMk cId="3807548493" sldId="10233"/>
        </pc:sldMkLst>
      </pc:sldChg>
    </pc:docChg>
  </pc:docChgLst>
  <pc:docChgLst>
    <pc:chgData name="Julia Szafranski" userId="S::julia.szafranski@deutschebahn.com::8745bde9-204c-4ba2-8533-1926afce1ce0" providerId="AD" clId="Web-{994AB4C8-8B50-6F85-AF71-2E581C17B0A9}"/>
    <pc:docChg chg="modSld">
      <pc:chgData name="Julia Szafranski" userId="S::julia.szafranski@deutschebahn.com::8745bde9-204c-4ba2-8533-1926afce1ce0" providerId="AD" clId="Web-{994AB4C8-8B50-6F85-AF71-2E581C17B0A9}" dt="2026-01-13T12:29:07.807" v="1" actId="20577"/>
      <pc:docMkLst>
        <pc:docMk/>
      </pc:docMkLst>
      <pc:sldChg chg="modSp">
        <pc:chgData name="Julia Szafranski" userId="S::julia.szafranski@deutschebahn.com::8745bde9-204c-4ba2-8533-1926afce1ce0" providerId="AD" clId="Web-{994AB4C8-8B50-6F85-AF71-2E581C17B0A9}" dt="2026-01-13T12:29:02.760" v="0" actId="20577"/>
        <pc:sldMkLst>
          <pc:docMk/>
          <pc:sldMk cId="1103475415" sldId="2134808627"/>
        </pc:sldMkLst>
      </pc:sldChg>
      <pc:sldChg chg="modSp">
        <pc:chgData name="Julia Szafranski" userId="S::julia.szafranski@deutschebahn.com::8745bde9-204c-4ba2-8533-1926afce1ce0" providerId="AD" clId="Web-{994AB4C8-8B50-6F85-AF71-2E581C17B0A9}" dt="2026-01-13T12:29:07.807" v="1" actId="20577"/>
        <pc:sldMkLst>
          <pc:docMk/>
          <pc:sldMk cId="437614793" sldId="2134808690"/>
        </pc:sldMkLst>
      </pc:sldChg>
    </pc:docChg>
  </pc:docChgLst>
  <pc:docChgLst>
    <pc:chgData name="Nadja Ueberschär" userId="S::nadja.ueberschaer@deutschebahn.com::0ebc43a6-d284-40a0-8d8a-beab017de60f" providerId="AD" clId="Web-{E16E89F7-00FE-E12D-7851-431D24B8BE32}"/>
    <pc:docChg chg="mod modSld">
      <pc:chgData name="Nadja Ueberschär" userId="S::nadja.ueberschaer@deutschebahn.com::0ebc43a6-d284-40a0-8d8a-beab017de60f" providerId="AD" clId="Web-{E16E89F7-00FE-E12D-7851-431D24B8BE32}" dt="2026-01-09T12:55:04.076" v="551" actId="14100"/>
      <pc:docMkLst>
        <pc:docMk/>
      </pc:docMkLst>
      <pc:sldChg chg="modSp">
        <pc:chgData name="Nadja Ueberschär" userId="S::nadja.ueberschaer@deutschebahn.com::0ebc43a6-d284-40a0-8d8a-beab017de60f" providerId="AD" clId="Web-{E16E89F7-00FE-E12D-7851-431D24B8BE32}" dt="2026-01-09T12:55:04.076" v="551" actId="14100"/>
        <pc:sldMkLst>
          <pc:docMk/>
          <pc:sldMk cId="3144306642" sldId="2147482273"/>
        </pc:sldMkLst>
      </pc:sldChg>
      <pc:sldChg chg="modSp">
        <pc:chgData name="Nadja Ueberschär" userId="S::nadja.ueberschaer@deutschebahn.com::0ebc43a6-d284-40a0-8d8a-beab017de60f" providerId="AD" clId="Web-{E16E89F7-00FE-E12D-7851-431D24B8BE32}" dt="2026-01-09T12:36:38.792" v="307" actId="20577"/>
        <pc:sldMkLst>
          <pc:docMk/>
          <pc:sldMk cId="3064425658" sldId="2147482274"/>
        </pc:sldMkLst>
      </pc:sldChg>
    </pc:docChg>
  </pc:docChgLst>
  <pc:docChgLst>
    <pc:chgData name="Lisa Voigt" userId="344ba26d-653e-4e7e-bfc4-c49671c37f93" providerId="ADAL" clId="{8E414C9F-B2F7-4E48-AA2F-1CAE5ABE5CBB}"/>
    <pc:docChg chg="undo custSel modSld">
      <pc:chgData name="Lisa Voigt" userId="344ba26d-653e-4e7e-bfc4-c49671c37f93" providerId="ADAL" clId="{8E414C9F-B2F7-4E48-AA2F-1CAE5ABE5CBB}" dt="2026-01-13T11:42:39.326" v="41" actId="1076"/>
      <pc:docMkLst>
        <pc:docMk/>
      </pc:docMkLst>
      <pc:sldChg chg="modSp mod modCm">
        <pc:chgData name="Lisa Voigt" userId="344ba26d-653e-4e7e-bfc4-c49671c37f93" providerId="ADAL" clId="{8E414C9F-B2F7-4E48-AA2F-1CAE5ABE5CBB}" dt="2026-01-13T11:42:39.326" v="41" actId="1076"/>
        <pc:sldMkLst>
          <pc:docMk/>
          <pc:sldMk cId="3698023474" sldId="213480870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isa Voigt" userId="344ba26d-653e-4e7e-bfc4-c49671c37f93" providerId="ADAL" clId="{8E414C9F-B2F7-4E48-AA2F-1CAE5ABE5CBB}" dt="2026-01-13T11:42:31.021" v="39" actId="20577"/>
              <pc2:cmMkLst xmlns:pc2="http://schemas.microsoft.com/office/powerpoint/2019/9/main/command">
                <pc:docMk/>
                <pc:sldMk cId="3698023474" sldId="2134808706"/>
                <pc2:cmMk id="{C0A7C8C9-2538-4892-A4C6-EF8B166DF99E}"/>
              </pc2:cmMkLst>
            </pc226:cmChg>
          </p:ext>
        </pc:extLst>
      </pc:sldChg>
    </pc:docChg>
  </pc:docChgLst>
  <pc:docChgLst>
    <pc:chgData name="Moritz Sondermann" userId="S::moritz.sondermann@deutschebahn.com::f3df79dc-4a87-42bc-8fdd-1040881b5c9a" providerId="AD" clId="Web-{793FAE6D-FB97-5A2F-C09D-3ACC3063068C}"/>
    <pc:docChg chg="sldOrd">
      <pc:chgData name="Moritz Sondermann" userId="S::moritz.sondermann@deutschebahn.com::f3df79dc-4a87-42bc-8fdd-1040881b5c9a" providerId="AD" clId="Web-{793FAE6D-FB97-5A2F-C09D-3ACC3063068C}" dt="2026-01-14T07:39:16.910" v="0"/>
      <pc:docMkLst>
        <pc:docMk/>
      </pc:docMkLst>
      <pc:sldChg chg="ord">
        <pc:chgData name="Moritz Sondermann" userId="S::moritz.sondermann@deutschebahn.com::f3df79dc-4a87-42bc-8fdd-1040881b5c9a" providerId="AD" clId="Web-{793FAE6D-FB97-5A2F-C09D-3ACC3063068C}" dt="2026-01-14T07:39:16.910" v="0"/>
        <pc:sldMkLst>
          <pc:docMk/>
          <pc:sldMk cId="3788936799" sldId="117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76E7386-D43A-4656-88C8-3A9BCA087FC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027145" y="9384856"/>
            <a:ext cx="714994" cy="4957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EDE44D-4B77-4836-9946-DA3A9454836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59107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466725"/>
            <a:ext cx="5924550" cy="3333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4370" y="4045501"/>
            <a:ext cx="5394960" cy="51742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183600" lvl="0" indent="-18360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</a:pPr>
            <a:r>
              <a:rPr lang="de-DE"/>
              <a:t>Mastertextformat bearbeiten</a:t>
            </a:r>
          </a:p>
          <a:p>
            <a:pPr marL="360000" lvl="1" indent="-17640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</a:pPr>
            <a:r>
              <a:rPr lang="de-DE"/>
              <a:t>Zweite Ebene</a:t>
            </a:r>
          </a:p>
          <a:p>
            <a:pPr marL="540000" lvl="2" indent="-18360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</a:pPr>
            <a:r>
              <a:rPr lang="de-DE"/>
              <a:t>Dritte Ebene</a:t>
            </a:r>
          </a:p>
          <a:p>
            <a:pPr marL="716400" lvl="3" indent="-17640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</a:pPr>
            <a:r>
              <a:rPr lang="de-DE"/>
              <a:t>Vierte Ebene</a:t>
            </a:r>
          </a:p>
          <a:p>
            <a:pPr marL="900000" lvl="4" indent="-18360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</a:pPr>
            <a:r>
              <a:rPr lang="de-DE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069330" y="9384856"/>
            <a:ext cx="672809" cy="4957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B8B26E-90DD-4F75-9543-DF10C34D64F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36361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7988" y="466725"/>
            <a:ext cx="5927725" cy="33353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noProof="0">
              <a:solidFill>
                <a:schemeClr val="tx1"/>
              </a:solidFill>
            </a:endParaRPr>
          </a:p>
          <a:p>
            <a:endParaRPr lang="en-GB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8B26E-90DD-4F75-9543-DF10C34D64F7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97531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7988" y="466725"/>
            <a:ext cx="5927725" cy="33353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8B26E-90DD-4F75-9543-DF10C34D64F7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30506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7988" y="466725"/>
            <a:ext cx="5927725" cy="33353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Bisherigen Botschaften unspezifisch</a:t>
            </a:r>
          </a:p>
          <a:p>
            <a:endParaRPr lang="de-DE"/>
          </a:p>
          <a:p>
            <a:r>
              <a:rPr lang="de-DE"/>
              <a:t>Nicht 100 Kilometer Gleis und 5 Tunnel </a:t>
            </a:r>
          </a:p>
          <a:p>
            <a:endParaRPr lang="de-DE"/>
          </a:p>
          <a:p>
            <a:r>
              <a:rPr lang="de-DE"/>
              <a:t>Kolleg:innen wünschen sich handfeste Vorteile</a:t>
            </a:r>
          </a:p>
          <a:p>
            <a:endParaRPr lang="de-DE"/>
          </a:p>
          <a:p>
            <a:r>
              <a:rPr lang="de-DE"/>
              <a:t>Folie Start und Ende jeder PPT</a:t>
            </a:r>
          </a:p>
          <a:p>
            <a:endParaRPr lang="de-DE"/>
          </a:p>
          <a:p>
            <a:endParaRPr lang="de-DE"/>
          </a:p>
          <a:p>
            <a:endParaRPr lang="de-DE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8B26E-90DD-4F75-9543-DF10C34D64F7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59507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2713" y="504825"/>
            <a:ext cx="6405562" cy="3603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8B26E-90DD-4F75-9543-DF10C34D64F7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47727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2713" y="504825"/>
            <a:ext cx="6405562" cy="3603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8B26E-90DD-4F75-9543-DF10C34D64F7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51152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4318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8B26E-90DD-4F75-9543-DF10C34D64F7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94707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1600200"/>
            <a:ext cx="11240873" cy="2764904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8611"/>
            <a:ext cx="11240873" cy="380709"/>
          </a:xfrm>
        </p:spPr>
        <p:txBody>
          <a:bodyPr/>
          <a:lstStyle>
            <a:lvl1pPr marL="0" indent="0">
              <a:buNone/>
              <a:defRPr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AC45A34D-75DC-4BA7-88F8-5CBA85EE7F5A}"/>
              </a:ext>
            </a:extLst>
          </p:cNvPr>
          <p:cNvSpPr/>
          <p:nvPr userDrawn="1"/>
        </p:nvSpPr>
        <p:spPr>
          <a:xfrm>
            <a:off x="579652" y="546761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F7F215B-2B41-C3B4-CEF8-F440FC2B96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9652" y="513294"/>
            <a:ext cx="3863773" cy="853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5546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verzeichnis (Bild, 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E2BE1948-FCAB-44DC-8926-051C501145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96696"/>
            <a:ext cx="8856000" cy="86405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InfraGO AG |  | I.II-O-T4 Stakeholdermanageme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AC0F8B-4A4D-455D-8D50-154C31AA3B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212507"/>
          </a:xfrm>
        </p:spPr>
        <p:txBody>
          <a:bodyPr/>
          <a:lstStyle>
            <a:lvl1pPr marL="895350" indent="-895350">
              <a:buClrTx/>
              <a:buFont typeface="+mj-lt"/>
              <a:buAutoNum type="arabicPeriod"/>
              <a:defRPr sz="3000">
                <a:solidFill>
                  <a:schemeClr val="bg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2D674621-38C8-4B6A-9F38-4353461FF6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08724" y="368561"/>
            <a:ext cx="1711800" cy="37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798105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verzeichnis (Bild, 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E2BE1948-FCAB-44DC-8926-051C501145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96696"/>
            <a:ext cx="8856000" cy="86405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InfraGO AG |  | I.II-O-T4 Stakeholdermanageme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AC0F8B-4A4D-455D-8D50-154C31AA3B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175993"/>
          </a:xfrm>
        </p:spPr>
        <p:txBody>
          <a:bodyPr/>
          <a:lstStyle>
            <a:lvl1pPr marL="895350" indent="-895350">
              <a:buClrTx/>
              <a:buFont typeface="+mj-lt"/>
              <a:buAutoNum type="arabicPeriod"/>
              <a:defRPr sz="3000">
                <a:solidFill>
                  <a:schemeClr val="bg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47426651-8C1F-4E8A-A2A0-313D93E5F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08724" y="368561"/>
            <a:ext cx="1711800" cy="37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89238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980728"/>
            <a:ext cx="11449050" cy="1836204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InfraGO AG |  | I.II-O-T4 Stakeholdermanagemen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3789041"/>
            <a:ext cx="5545137" cy="234029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A4574D2F-0500-4A13-8529-ED82FC3897C9}"/>
              </a:ext>
            </a:extLst>
          </p:cNvPr>
          <p:cNvSpPr/>
          <p:nvPr userDrawn="1"/>
        </p:nvSpPr>
        <p:spPr>
          <a:xfrm>
            <a:off x="374776" y="3068960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50596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(Bild, Logo Schwarz)">
    <p:bg>
      <p:bgPr>
        <a:solidFill>
          <a:schemeClr val="bg1">
            <a:lumMod val="75000"/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F8EFF006-54B8-4823-B83A-1C9F7B6FA06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980728"/>
            <a:ext cx="11449050" cy="1836204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InfraGO AG |  | I.II-O-T4 Stakeholdermanagemen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3789041"/>
            <a:ext cx="5545137" cy="2340298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776" y="3068960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27FFED9-1D10-457A-BB20-AF5C3651E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9CBF66AC-39B1-42D5-81C3-BAE45EE2EA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08724" y="368561"/>
            <a:ext cx="1711800" cy="37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65158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(Bild, Logo Weiß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F8EFF006-54B8-4823-B83A-1C9F7B6FA06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980728"/>
            <a:ext cx="11449050" cy="1836204"/>
          </a:xfrm>
        </p:spPr>
        <p:txBody>
          <a:bodyPr anchor="b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InfraGO AG |  | I.II-O-T4 Stakeholdermanagemen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3789041"/>
            <a:ext cx="5545137" cy="234029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776" y="3068960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27FFED9-1D10-457A-BB20-AF5C3651E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365ECB0E-4B1C-49BA-98BA-2E4E716F869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08724" y="368561"/>
            <a:ext cx="1711800" cy="37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629317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InfraGO AG |  | I.II-O-T4 Stakeholdermanagemen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3CB751F-9E6E-4899-A573-910F22F0D83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1475" y="1449388"/>
            <a:ext cx="11449049" cy="46799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44823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InfraGO AG |  | I.II-O-T4 Stakeholdermanagemen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98887A16-E540-417F-AEC5-F4B0FFDF4A7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1475" y="1449388"/>
            <a:ext cx="5545138" cy="46799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73A4453B-BB6A-434B-9D58-17979C3C6A7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5387" y="1449388"/>
            <a:ext cx="5545138" cy="46799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05936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E8E2C43-FDD0-456E-A273-CCBA60D849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1449388"/>
            <a:ext cx="5923409" cy="5408612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InfraGO AG |  | I.II-O-T4 Stakeholdermanagemen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AE5B13E-F925-44FA-A8D7-2CB14BB0A1B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75388" y="1449388"/>
            <a:ext cx="5545137" cy="46799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898573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(rech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E8E2C43-FDD0-456E-A273-CCBA60D849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75388" y="1449388"/>
            <a:ext cx="5916612" cy="5408612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InfraGO AG |  | I.II-O-T4 Stakeholdermanagemen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AE5B13E-F925-44FA-A8D7-2CB14BB0A1B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78272" y="1449388"/>
            <a:ext cx="5545137" cy="46799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E205B2A-24B4-4B2B-B293-149CBCB8D49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939854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it Titel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InfraGO AG |  | I.II-O-T4 Stakeholdermanageme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52ACBF4-EBE4-4F98-8E18-5619C05FB6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D1D1ADD7-19FC-466D-A511-110F40BCABA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08724" y="368561"/>
            <a:ext cx="1711800" cy="37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53439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Ro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1600200"/>
            <a:ext cx="11240873" cy="2764904"/>
          </a:xfrm>
        </p:spPr>
        <p:txBody>
          <a:bodyPr anchor="b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2000"/>
            <a:ext cx="11240873" cy="38070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AC45A34D-75DC-4BA7-88F8-5CBA85EE7F5A}"/>
              </a:ext>
            </a:extLst>
          </p:cNvPr>
          <p:cNvSpPr/>
          <p:nvPr userDrawn="1"/>
        </p:nvSpPr>
        <p:spPr>
          <a:xfrm>
            <a:off x="579652" y="546761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2B1BD42-6E08-2A44-1A33-599D3FA4BD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9652" y="513294"/>
            <a:ext cx="3863773" cy="853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596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it Titel (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InfraGO AG |  | I.II-O-T4 Stakeholdermanageme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52ACBF4-EBE4-4F98-8E18-5619C05FB6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A3AE5124-05FF-4DFE-9C68-573E13080C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08724" y="368561"/>
            <a:ext cx="1711800" cy="37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103340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InfraGO AG |  | I.II-O-T4 Stakeholdermanageme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05678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(Grau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InfraGO AG |  | I.II-O-T4 Stakeholdermanageme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39804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86CD97-5D9A-4DD7-8FA9-F028A03BBC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InfraGO AG |  | I.II-O-T4 Stakeholdermanagemen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35940B9-9206-49A7-9C4C-F7D5345063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36093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(Logo Rot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InfraGO AG |  | I.II-O-T4 Stakeholdermanageme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027" y="6538648"/>
            <a:ext cx="520498" cy="216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23A1144C-097B-48B5-A5B0-A4ECB476BA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3" y="2096852"/>
            <a:ext cx="11521677" cy="1231349"/>
          </a:xfrm>
        </p:spPr>
        <p:txBody>
          <a:bodyPr/>
          <a:lstStyle>
            <a:lvl1pPr marL="0" indent="0">
              <a:buNone/>
              <a:defRPr sz="8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Statement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1BA9AD80-CF1D-49CF-9F8B-682E191E79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08724" y="368561"/>
            <a:ext cx="1711800" cy="37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655632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(Logo Weiß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InfraGO AG |  | I.II-O-T4 Stakeholdermanageme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23A1144C-097B-48B5-A5B0-A4ECB476BA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3" y="2096852"/>
            <a:ext cx="11521677" cy="1231349"/>
          </a:xfrm>
        </p:spPr>
        <p:txBody>
          <a:bodyPr/>
          <a:lstStyle>
            <a:lvl1pPr marL="0" indent="0">
              <a:buNone/>
              <a:defRPr sz="8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Statement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61896D1F-0347-4A0D-AD18-573DFF98CE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08724" y="368561"/>
            <a:ext cx="1711800" cy="37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182563" lvl="0" indent="-182563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31835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(Logo 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edienplatzhalter 4">
            <a:extLst>
              <a:ext uri="{FF2B5EF4-FFF2-40B4-BE49-F238E27FC236}">
                <a16:creationId xmlns:a16="http://schemas.microsoft.com/office/drawing/2014/main" id="{3348C025-EC14-4E25-AA69-4FBB23BF31B0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Mediaclip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58000"/>
          </a:xfrm>
          <a:solidFill>
            <a:schemeClr val="tx1">
              <a:alpha val="30000"/>
            </a:schemeClr>
          </a:solidFill>
        </p:spPr>
        <p:txBody>
          <a:bodyPr lIns="324000" tIns="324000" rIns="324000" bIns="2412000"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InfraGO AG |  | I.II-O-T4 Stakeholdermanagemen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5208436"/>
            <a:ext cx="11449050" cy="935487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313" y="490516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27FFED9-1D10-457A-BB20-AF5C3651E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463EE55D-A15C-4854-B441-7F0B261C62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08724" y="368561"/>
            <a:ext cx="1711800" cy="37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182563" lvl="0" indent="-182563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57869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(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edienplatzhalter 4">
            <a:extLst>
              <a:ext uri="{FF2B5EF4-FFF2-40B4-BE49-F238E27FC236}">
                <a16:creationId xmlns:a16="http://schemas.microsoft.com/office/drawing/2014/main" id="{3348C025-EC14-4E25-AA69-4FBB23BF31B0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Mediaclip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58000"/>
          </a:xfrm>
          <a:solidFill>
            <a:schemeClr val="tx1">
              <a:alpha val="30000"/>
            </a:schemeClr>
          </a:solidFill>
        </p:spPr>
        <p:txBody>
          <a:bodyPr lIns="324000" tIns="324000" rIns="324000" bIns="2412000"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InfraGO AG |  | I.II-O-T4 Stakeholdermanagemen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5208436"/>
            <a:ext cx="11449050" cy="935486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313" y="490516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27FFED9-1D10-457A-BB20-AF5C3651E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3938C865-AF38-4303-A4E7-9ACD9745183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08724" y="368561"/>
            <a:ext cx="1711800" cy="37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098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 (Bild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10">
            <a:extLst>
              <a:ext uri="{FF2B5EF4-FFF2-40B4-BE49-F238E27FC236}">
                <a16:creationId xmlns:a16="http://schemas.microsoft.com/office/drawing/2014/main" id="{88E6BB85-2CD9-4C46-9692-3B22C74A130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2436127"/>
            <a:ext cx="11449050" cy="3693211"/>
          </a:xfrm>
        </p:spPr>
        <p:txBody>
          <a:bodyPr/>
          <a:lstStyle>
            <a:lvl1pPr algn="ctr">
              <a:defRPr sz="8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743925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Ende (Ro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2436127"/>
            <a:ext cx="11449050" cy="3693211"/>
          </a:xfrm>
        </p:spPr>
        <p:txBody>
          <a:bodyPr/>
          <a:lstStyle>
            <a:lvl1pPr algn="ctr">
              <a:defRPr sz="8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380186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Bild, 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652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3609020"/>
            <a:ext cx="11240873" cy="756084"/>
          </a:xfrm>
        </p:spPr>
        <p:txBody>
          <a:bodyPr anchor="b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tx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2000"/>
            <a:ext cx="11240873" cy="380709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203F2E67-B0D5-4D6C-96FC-F0566B3DB3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9652" y="513294"/>
            <a:ext cx="3863773" cy="85319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662558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easyBackground_Agenda">
            <a:extLst>
              <a:ext uri="{FF2B5EF4-FFF2-40B4-BE49-F238E27FC236}">
                <a16:creationId xmlns:a16="http://schemas.microsoft.com/office/drawing/2014/main" id="{8146BF48-57DA-42E4-B3E4-E67A859C6AB5}"/>
              </a:ext>
            </a:extLst>
          </p:cNvPr>
          <p:cNvPicPr preferRelativeResize="0"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999" cy="685800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InfraGO AG |  | I.II-O-T4 Stakeholdermanageme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AC0F8B-4A4D-455D-8D50-154C31AA3B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40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56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0883676-EF05-48A6-913D-5F031336D2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08724" y="368561"/>
            <a:ext cx="1711800" cy="378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18026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 (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enplatzhalter 4">
            <a:extLst>
              <a:ext uri="{FF2B5EF4-FFF2-40B4-BE49-F238E27FC236}">
                <a16:creationId xmlns:a16="http://schemas.microsoft.com/office/drawing/2014/main" id="{F620A319-D564-4D18-92D7-8995EC1B261E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Mediaclip durch Klicken auf Symbol hinzufügen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11586949-1E99-4A43-99E8-BFF2DE8AE5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86748" y="2420887"/>
            <a:ext cx="8218501" cy="1814811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950748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nde (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F70E28D6-8AC6-6E38-CB15-EAF633D15DC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tIns="360000" anchor="t"/>
          <a:lstStyle>
            <a:lvl1pPr marL="183600" indent="-183600" algn="ctr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Neo Office" pitchFamily="2" charset="0"/>
              <a:buNone/>
              <a:defRPr/>
            </a:lvl1pPr>
          </a:lstStyle>
          <a:p>
            <a:r>
              <a:rPr lang="de-DE"/>
              <a:t> 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11586949-1E99-4A43-99E8-BFF2DE8AE5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86748" y="2420887"/>
            <a:ext cx="8218501" cy="1814811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20880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Bild, 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652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3609020"/>
            <a:ext cx="11240873" cy="756084"/>
          </a:xfrm>
        </p:spPr>
        <p:txBody>
          <a:bodyPr anchor="b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2000"/>
            <a:ext cx="11240873" cy="38070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EF62990-51FD-4371-0217-CEEA2BE8C4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9652" y="513294"/>
            <a:ext cx="3863773" cy="85319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266235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Bild, Logo Schwarz zentrie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PULS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639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6" y="3609020"/>
            <a:ext cx="11449050" cy="756084"/>
          </a:xfrm>
        </p:spPr>
        <p:txBody>
          <a:bodyPr anchor="b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1476" y="4392005"/>
            <a:ext cx="11449050" cy="683654"/>
          </a:xfrm>
        </p:spPr>
        <p:txBody>
          <a:bodyPr/>
          <a:lstStyle>
            <a:lvl1pPr marL="0" indent="0" algn="ctr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5920896"/>
            <a:ext cx="11449051" cy="38070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39399880-9F04-4041-857C-3A730A3F57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64112" y="513294"/>
            <a:ext cx="3863773" cy="85319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762350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Bild, Logo Weiß zentrie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PULS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639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6" y="3609020"/>
            <a:ext cx="11449050" cy="756084"/>
          </a:xfrm>
        </p:spPr>
        <p:txBody>
          <a:bodyPr anchor="b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1476" y="4392005"/>
            <a:ext cx="11449050" cy="683654"/>
          </a:xfrm>
        </p:spPr>
        <p:txBody>
          <a:bodyPr/>
          <a:lstStyle>
            <a:lvl1pPr marL="0" indent="0" algn="ctr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6" y="5920896"/>
            <a:ext cx="11449050" cy="38070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AC7CCCB3-4C9E-4679-9D0E-6976C35D28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64112" y="513294"/>
            <a:ext cx="3863773" cy="85319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449869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Rahm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364" y="1073676"/>
            <a:ext cx="7309209" cy="5415664"/>
          </a:xfrm>
          <a:prstGeom prst="roundRect">
            <a:avLst>
              <a:gd name="adj" fmla="val 1200"/>
            </a:avLst>
          </a:prstGeom>
          <a:solidFill>
            <a:schemeClr val="bg1">
              <a:alpha val="80000"/>
            </a:schemeClr>
          </a:solidFill>
        </p:spPr>
        <p:txBody>
          <a:bodyPr lIns="360000" tIns="252000" rIns="252000" bIns="2232000" anchor="b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9299" y="5467615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9299" y="4371454"/>
            <a:ext cx="6643241" cy="68365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tx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1403" y="5922000"/>
            <a:ext cx="6661137" cy="380709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398F66B9-BCC0-498C-90EC-8CDC6A8B00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9298" y="1442767"/>
            <a:ext cx="3863773" cy="85319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490554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296696"/>
            <a:ext cx="8857247" cy="8640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212507"/>
          </a:xfrm>
        </p:spPr>
        <p:txBody>
          <a:bodyPr/>
          <a:lstStyle>
            <a:lvl1pPr marL="895350" indent="-895350">
              <a:buClrTx/>
              <a:buFont typeface="+mj-lt"/>
              <a:buAutoNum type="arabicPeriod"/>
              <a:defRPr sz="3000">
                <a:solidFill>
                  <a:schemeClr val="tx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2C21096-8319-E961-D73F-EBB16FE279A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InfraGO AG |  | I.II-O-T4 Stakeholdermanagement</a:t>
            </a:r>
          </a:p>
        </p:txBody>
      </p:sp>
    </p:spTree>
    <p:extLst>
      <p:ext uri="{BB962C8B-B14F-4D97-AF65-F5344CB8AC3E}">
        <p14:creationId xmlns:p14="http://schemas.microsoft.com/office/powerpoint/2010/main" val="10128122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verzeichnis (Ro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96696"/>
            <a:ext cx="8856000" cy="86405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InfraGO AG |  | I.II-O-T4 Stakeholdermanageme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212507"/>
          </a:xfrm>
        </p:spPr>
        <p:txBody>
          <a:bodyPr/>
          <a:lstStyle>
            <a:lvl1pPr marL="895350" indent="-895350">
              <a:buClrTx/>
              <a:buFont typeface="+mj-lt"/>
              <a:buAutoNum type="arabicPeriod"/>
              <a:defRPr sz="3000">
                <a:solidFill>
                  <a:schemeClr val="bg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652B2642-5C15-4995-AB93-CA337E09B1DB}"/>
              </a:ext>
            </a:extLst>
          </p:cNvPr>
          <p:cNvSpPr>
            <a:spLocks/>
          </p:cNvSpPr>
          <p:nvPr userDrawn="1"/>
        </p:nvSpPr>
        <p:spPr bwMode="auto">
          <a:xfrm>
            <a:off x="11293475" y="6469871"/>
            <a:ext cx="542925" cy="55563"/>
          </a:xfrm>
          <a:custGeom>
            <a:avLst/>
            <a:gdLst>
              <a:gd name="T0" fmla="*/ 3590 w 3779"/>
              <a:gd name="T1" fmla="*/ 377 h 377"/>
              <a:gd name="T2" fmla="*/ 3590 w 3779"/>
              <a:gd name="T3" fmla="*/ 377 h 377"/>
              <a:gd name="T4" fmla="*/ 188 w 3779"/>
              <a:gd name="T5" fmla="*/ 377 h 377"/>
              <a:gd name="T6" fmla="*/ 0 w 3779"/>
              <a:gd name="T7" fmla="*/ 188 h 377"/>
              <a:gd name="T8" fmla="*/ 188 w 3779"/>
              <a:gd name="T9" fmla="*/ 0 h 377"/>
              <a:gd name="T10" fmla="*/ 3590 w 3779"/>
              <a:gd name="T11" fmla="*/ 0 h 377"/>
              <a:gd name="T12" fmla="*/ 3779 w 3779"/>
              <a:gd name="T13" fmla="*/ 188 h 377"/>
              <a:gd name="T14" fmla="*/ 3590 w 3779"/>
              <a:gd name="T15" fmla="*/ 377 h 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779" h="377">
                <a:moveTo>
                  <a:pt x="3590" y="377"/>
                </a:moveTo>
                <a:lnTo>
                  <a:pt x="3590" y="377"/>
                </a:lnTo>
                <a:lnTo>
                  <a:pt x="188" y="377"/>
                </a:lnTo>
                <a:cubicBezTo>
                  <a:pt x="79" y="377"/>
                  <a:pt x="0" y="293"/>
                  <a:pt x="0" y="188"/>
                </a:cubicBezTo>
                <a:cubicBezTo>
                  <a:pt x="0" y="82"/>
                  <a:pt x="79" y="0"/>
                  <a:pt x="188" y="0"/>
                </a:cubicBezTo>
                <a:lnTo>
                  <a:pt x="3590" y="0"/>
                </a:lnTo>
                <a:cubicBezTo>
                  <a:pt x="3700" y="0"/>
                  <a:pt x="3779" y="82"/>
                  <a:pt x="3779" y="188"/>
                </a:cubicBezTo>
                <a:cubicBezTo>
                  <a:pt x="3779" y="293"/>
                  <a:pt x="3700" y="377"/>
                  <a:pt x="3590" y="377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A4781C7-6ECF-2987-D9C9-ADB7D86177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8724" y="368561"/>
            <a:ext cx="1711800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893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4.sv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DB696EF-D337-04C6-A335-D6136C9AAE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90390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5" imgW="395" imgH="394" progId="TCLayout.ActiveDocument.1">
                  <p:embed/>
                </p:oleObj>
              </mc:Choice>
              <mc:Fallback>
                <p:oleObj name="think-cell Folie" r:id="rId35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B696EF-D337-04C6-A335-D6136C9AAE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27DB810-CDF5-41AC-8E51-9EBC8EC0B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96696"/>
            <a:ext cx="9495950" cy="864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2AE7966-514A-4D81-97FD-6AD3A07C80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4" y="1449388"/>
            <a:ext cx="11449051" cy="467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C0766E-DEEA-4949-912D-67F535F0E6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37600"/>
            <a:ext cx="10602902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DB InfraGO AG |  | I.II-O-T4 Stakeholdermanagemen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374309D-71AA-45D4-974A-6D58CB1760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0027" y="6538648"/>
            <a:ext cx="520498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DE7FD38-4C24-1C44-B92F-B053B9DC1D6B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3200" y="6472800"/>
            <a:ext cx="540000" cy="5342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4D10EF4A-3A57-045A-D6DD-351B16CF50B0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10108724" y="368561"/>
            <a:ext cx="1711800" cy="378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C6E65474-E5B2-FB93-52D2-CD7003E58B6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2700" y="12700"/>
            <a:ext cx="1820863" cy="1676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100">
                <a:solidFill>
                  <a:srgbClr val="EC0016">
                    <a:alpha val="50000"/>
                  </a:srgbClr>
                </a:solidFill>
                <a:latin typeface="DB Neo Office" pitchFamily="2" charset="0"/>
              </a:rPr>
              <a:t>          DB Intern / DB internal</a:t>
            </a:r>
          </a:p>
        </p:txBody>
      </p:sp>
    </p:spTree>
    <p:extLst>
      <p:ext uri="{BB962C8B-B14F-4D97-AF65-F5344CB8AC3E}">
        <p14:creationId xmlns:p14="http://schemas.microsoft.com/office/powerpoint/2010/main" val="226472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75" r:id="rId3"/>
    <p:sldLayoutId id="2147483661" r:id="rId4"/>
    <p:sldLayoutId id="2147483692" r:id="rId5"/>
    <p:sldLayoutId id="2147483691" r:id="rId6"/>
    <p:sldLayoutId id="2147483663" r:id="rId7"/>
    <p:sldLayoutId id="2147483681" r:id="rId8"/>
    <p:sldLayoutId id="2147483680" r:id="rId9"/>
    <p:sldLayoutId id="2147483666" r:id="rId10"/>
    <p:sldLayoutId id="2147483682" r:id="rId11"/>
    <p:sldLayoutId id="2147483664" r:id="rId12"/>
    <p:sldLayoutId id="2147483665" r:id="rId13"/>
    <p:sldLayoutId id="2147483679" r:id="rId14"/>
    <p:sldLayoutId id="2147483650" r:id="rId15"/>
    <p:sldLayoutId id="2147483673" r:id="rId16"/>
    <p:sldLayoutId id="2147483685" r:id="rId17"/>
    <p:sldLayoutId id="2147483674" r:id="rId18"/>
    <p:sldLayoutId id="2147483677" r:id="rId19"/>
    <p:sldLayoutId id="2147483668" r:id="rId20"/>
    <p:sldLayoutId id="2147483654" r:id="rId21"/>
    <p:sldLayoutId id="2147483670" r:id="rId22"/>
    <p:sldLayoutId id="2147483655" r:id="rId23"/>
    <p:sldLayoutId id="2147483669" r:id="rId24"/>
    <p:sldLayoutId id="2147483676" r:id="rId25"/>
    <p:sldLayoutId id="2147483667" r:id="rId26"/>
    <p:sldLayoutId id="2147483678" r:id="rId27"/>
    <p:sldLayoutId id="2147483658" r:id="rId28"/>
    <p:sldLayoutId id="2147483657" r:id="rId29"/>
    <p:sldLayoutId id="2147483693" r:id="rId30"/>
    <p:sldLayoutId id="2147483660" r:id="rId31"/>
    <p:sldLayoutId id="2147483694" r:id="rId32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3600" indent="-183600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DB Sans" panose="020B050205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76400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DB Sans" panose="020B050205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3600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DB Sans" panose="020B050205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6400" indent="-176400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DB Sans" panose="020B050205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3600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DB Sans" panose="020B050205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7" pos="3727" userDrawn="1">
          <p15:clr>
            <a:srgbClr val="F26B43"/>
          </p15:clr>
        </p15:guide>
        <p15:guide id="8" pos="3953" userDrawn="1">
          <p15:clr>
            <a:srgbClr val="F26B43"/>
          </p15:clr>
        </p15:guide>
        <p15:guide id="9" orient="horz" pos="913" userDrawn="1">
          <p15:clr>
            <a:srgbClr val="F26B43"/>
          </p15:clr>
        </p15:guide>
        <p15:guide id="10" orient="horz" pos="3861" userDrawn="1">
          <p15:clr>
            <a:srgbClr val="F26B43"/>
          </p15:clr>
        </p15:guide>
        <p15:guide id="11" pos="2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sbahn.berlin/das-unternehmen/unternehmensprofil/umweltschutz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5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5.png"/><Relationship Id="rId5" Type="http://schemas.openxmlformats.org/officeDocument/2006/relationships/image" Target="../media/image20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5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7">
            <a:extLst>
              <a:ext uri="{FF2B5EF4-FFF2-40B4-BE49-F238E27FC236}">
                <a16:creationId xmlns:a16="http://schemas.microsoft.com/office/drawing/2014/main" id="{B94ED988-CB82-4D9A-B5F8-7278AC11FC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B0243EAE-5776-7541-23BF-D8C86EC5176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5100" b="1" dirty="0">
                <a:latin typeface="DB Neo Office Head" pitchFamily="2" charset="0"/>
              </a:rPr>
              <a:t>Projekt S21 Berlin</a:t>
            </a:r>
            <a:br>
              <a:rPr lang="de-DE" sz="4000" b="1" dirty="0">
                <a:latin typeface="DB Neo Office Head" pitchFamily="2" charset="0"/>
              </a:rPr>
            </a:br>
            <a:r>
              <a:rPr lang="de-DE" sz="2700" b="1" dirty="0">
                <a:latin typeface="DB Neo Office Head" pitchFamily="2" charset="0"/>
              </a:rPr>
              <a:t>Pressetermin zur Inbetriebnahme </a:t>
            </a:r>
            <a:br>
              <a:rPr lang="de-DE" sz="2700" b="1" dirty="0">
                <a:latin typeface="DB Neo Office Head" pitchFamily="2" charset="0"/>
              </a:rPr>
            </a:br>
            <a:r>
              <a:rPr lang="de-DE" sz="2700" b="1" dirty="0">
                <a:latin typeface="DB Neo Office Head" pitchFamily="2" charset="0"/>
              </a:rPr>
              <a:t>des 1. Bauabschnitts (Interimszustand)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62AA9A6-C763-437C-9E06-2BBABCA0EB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1400" dirty="0">
                <a:latin typeface="DB Neo Office Head" pitchFamily="2" charset="0"/>
              </a:rPr>
              <a:t>Deutsche Bahn AG | Projekt S21 Berlin | Presse- und Fototermin | 04. Juni 2026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293146D-126E-7F13-109F-F58CC0949019}"/>
              </a:ext>
            </a:extLst>
          </p:cNvPr>
          <p:cNvSpPr/>
          <p:nvPr/>
        </p:nvSpPr>
        <p:spPr>
          <a:xfrm rot="16200000">
            <a:off x="11403039" y="3792880"/>
            <a:ext cx="1313099" cy="2648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72000" bIns="72000" rtlCol="0" anchor="ctr"/>
          <a:lstStyle/>
          <a:p>
            <a:pPr>
              <a:buClr>
                <a:schemeClr val="accent2"/>
              </a:buClr>
            </a:pPr>
            <a:r>
              <a:rPr lang="de-DE" sz="800" dirty="0">
                <a:solidFill>
                  <a:schemeClr val="bg1"/>
                </a:solidFill>
                <a:latin typeface="DB Neo Office" pitchFamily="2" charset="0"/>
              </a:rPr>
              <a:t>(Bild: Deutsche Bahn AG)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B08E85D-2963-CAB0-56E0-F269251A92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3" name="Grafik 2" descr="Ein Bild, das Grafiken, Logo, Schrift, Symbol enthält.&#10;&#10;KI-generierte Inhalte können fehlerhaft sein.">
            <a:extLst>
              <a:ext uri="{FF2B5EF4-FFF2-40B4-BE49-F238E27FC236}">
                <a16:creationId xmlns:a16="http://schemas.microsoft.com/office/drawing/2014/main" id="{B2FE8189-C353-3B2E-6E5E-6AF58C00FB2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298" y="1442767"/>
            <a:ext cx="1244150" cy="853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2163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7">
            <a:extLst>
              <a:ext uri="{FF2B5EF4-FFF2-40B4-BE49-F238E27FC236}">
                <a16:creationId xmlns:a16="http://schemas.microsoft.com/office/drawing/2014/main" id="{B94ED988-CB82-4D9A-B5F8-7278AC11FC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D31657FC-383D-BEB9-A753-11412B2605B0}"/>
              </a:ext>
            </a:extLst>
          </p:cNvPr>
          <p:cNvSpPr txBox="1"/>
          <p:nvPr/>
        </p:nvSpPr>
        <p:spPr>
          <a:xfrm rot="16200000">
            <a:off x="11246888" y="5600862"/>
            <a:ext cx="1524021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Clr>
                <a:schemeClr val="accent2"/>
              </a:buClr>
            </a:pPr>
            <a:r>
              <a:rPr lang="de-DE" sz="800" dirty="0">
                <a:latin typeface="DB Neo Office" pitchFamily="2" charset="0"/>
              </a:rPr>
              <a:t>(</a:t>
            </a:r>
            <a:r>
              <a:rPr lang="en-GB" sz="800" dirty="0">
                <a:latin typeface="DB Neo Office" pitchFamily="2" charset="0"/>
              </a:rPr>
              <a:t>Bild</a:t>
            </a:r>
            <a:r>
              <a:rPr lang="de-DE" sz="800" dirty="0">
                <a:latin typeface="DB Neo Office" pitchFamily="2" charset="0"/>
              </a:rPr>
              <a:t>: Deutsche Bahn AG)</a:t>
            </a:r>
          </a:p>
        </p:txBody>
      </p:sp>
    </p:spTree>
    <p:extLst>
      <p:ext uri="{BB962C8B-B14F-4D97-AF65-F5344CB8AC3E}">
        <p14:creationId xmlns:p14="http://schemas.microsoft.com/office/powerpoint/2010/main" val="38075484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40575C5B-C234-7E97-DEF8-429A175C61E3}"/>
              </a:ext>
            </a:extLst>
          </p:cNvPr>
          <p:cNvSpPr txBox="1">
            <a:spLocks/>
          </p:cNvSpPr>
          <p:nvPr/>
        </p:nvSpPr>
        <p:spPr>
          <a:xfrm>
            <a:off x="372062" y="6537600"/>
            <a:ext cx="10548843" cy="2160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latin typeface="DB Neo Office" pitchFamily="2" charset="0"/>
              </a:rPr>
              <a:t>Deutsche Bahn AG | Projekt S21 Berlin | Presse- und Fototermin | 04. Juni 2026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EAC4BCD-7EB1-081D-C215-6C04D8DAADD7}"/>
              </a:ext>
            </a:extLst>
          </p:cNvPr>
          <p:cNvSpPr txBox="1"/>
          <p:nvPr/>
        </p:nvSpPr>
        <p:spPr>
          <a:xfrm>
            <a:off x="6002503" y="6446810"/>
            <a:ext cx="6257155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</a:pPr>
            <a:r>
              <a:rPr lang="de-DE" sz="1000" baseline="30000" dirty="0"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de-DE" sz="1000" dirty="0"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natsverwaltung für Mobilität, Verkehr, Klimaschutz und Umwelt; </a:t>
            </a:r>
            <a:br>
              <a:rPr lang="de-DE" sz="1000" dirty="0"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000" baseline="30000" dirty="0">
                <a:solidFill>
                  <a:srgbClr val="000000"/>
                </a:solidFill>
                <a:latin typeface="DB Neo Office" pitchFamily="2" charset="0"/>
              </a:rPr>
              <a:t>2</a:t>
            </a:r>
            <a:r>
              <a:rPr lang="de-DE" sz="1000" dirty="0">
                <a:solidFill>
                  <a:srgbClr val="000000"/>
                </a:solidFill>
                <a:latin typeface="DB Neo Office" pitchFamily="2" charset="0"/>
              </a:rPr>
              <a:t>Die Linien-Bezeichnungen können sich noch im weiteren Projektverlauf ändern. </a:t>
            </a:r>
            <a:r>
              <a:rPr lang="de-DE" sz="1000" baseline="30000" dirty="0">
                <a:solidFill>
                  <a:srgbClr val="000000"/>
                </a:solidFill>
                <a:latin typeface="DB Neo Office" pitchFamily="2" charset="0"/>
              </a:rPr>
              <a:t>3</a:t>
            </a:r>
            <a:r>
              <a:rPr lang="de-DE" sz="1000" dirty="0">
                <a:solidFill>
                  <a:srgbClr val="000000"/>
                </a:solidFill>
                <a:latin typeface="DB Neo Office" pitchFamily="2" charset="0"/>
                <a:hlinkClick r:id="rId3"/>
              </a:rPr>
              <a:t>sbahn.berlin</a:t>
            </a:r>
            <a:r>
              <a:rPr lang="de-DE" sz="1000" dirty="0">
                <a:solidFill>
                  <a:srgbClr val="000000"/>
                </a:solidFill>
                <a:latin typeface="DB Neo Office" pitchFamily="2" charset="0"/>
              </a:rPr>
              <a:t> </a:t>
            </a:r>
          </a:p>
          <a:p>
            <a:pPr>
              <a:buClr>
                <a:schemeClr val="accent2"/>
              </a:buClr>
            </a:pPr>
            <a:endParaRPr lang="de-DE" sz="1000" dirty="0"/>
          </a:p>
        </p:txBody>
      </p:sp>
      <p:grpSp>
        <p:nvGrpSpPr>
          <p:cNvPr id="225" name="Gruppieren 224">
            <a:extLst>
              <a:ext uri="{FF2B5EF4-FFF2-40B4-BE49-F238E27FC236}">
                <a16:creationId xmlns:a16="http://schemas.microsoft.com/office/drawing/2014/main" id="{741C260B-130D-E969-80F4-3A72748BF590}"/>
              </a:ext>
            </a:extLst>
          </p:cNvPr>
          <p:cNvGrpSpPr/>
          <p:nvPr/>
        </p:nvGrpSpPr>
        <p:grpSpPr>
          <a:xfrm>
            <a:off x="551384" y="1279123"/>
            <a:ext cx="10795749" cy="637709"/>
            <a:chOff x="569527" y="1317409"/>
            <a:chExt cx="10795749" cy="612000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8220575E-0C21-4976-C76D-54815657D57C}"/>
                </a:ext>
              </a:extLst>
            </p:cNvPr>
            <p:cNvSpPr txBox="1"/>
            <p:nvPr/>
          </p:nvSpPr>
          <p:spPr>
            <a:xfrm>
              <a:off x="1304842" y="1376315"/>
              <a:ext cx="10060434" cy="47259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Bef>
                  <a:spcPts val="400"/>
                </a:spcBef>
                <a:spcAft>
                  <a:spcPts val="400"/>
                </a:spcAft>
                <a:buClr>
                  <a:schemeClr val="accent2"/>
                </a:buClr>
              </a:pPr>
              <a:r>
                <a:rPr lang="de-DE" sz="1600" dirty="0">
                  <a:latin typeface="DB Neo Office" pitchFamily="2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Mit der zweiten Nord-Süd-Verbindung </a:t>
              </a:r>
              <a:r>
                <a:rPr lang="de-DE" sz="1600" b="1" dirty="0">
                  <a:latin typeface="DB Neo Office" pitchFamily="2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b</a:t>
              </a:r>
              <a:r>
                <a:rPr lang="de-DE" sz="1600" b="1" dirty="0">
                  <a:effectLst/>
                  <a:latin typeface="DB Neo Office" pitchFamily="2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s zu 12 Minuten schneller zum Hauptbahnhof</a:t>
              </a:r>
              <a:r>
                <a:rPr lang="de-DE" sz="1600" dirty="0">
                  <a:effectLst/>
                  <a:latin typeface="DB Neo Office" pitchFamily="2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. </a:t>
              </a:r>
              <a:br>
                <a:rPr lang="de-DE" sz="1600" dirty="0">
                  <a:effectLst/>
                  <a:latin typeface="DB Neo Office" pitchFamily="2" charset="0"/>
                  <a:ea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600" dirty="0">
                  <a:effectLst/>
                  <a:latin typeface="DB Neo Office" pitchFamily="2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Aus z.B. Pankow und der Siemensstadt wird die </a:t>
              </a:r>
              <a:r>
                <a:rPr lang="de-DE" sz="1600" b="1" dirty="0">
                  <a:effectLst/>
                  <a:latin typeface="DB Neo Office" pitchFamily="2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Fahrtzeit nahezu halbiert</a:t>
              </a:r>
              <a:r>
                <a:rPr lang="de-DE" sz="1600" dirty="0">
                  <a:effectLst/>
                  <a:latin typeface="DB Neo Office" pitchFamily="2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  <a:r>
                <a:rPr lang="de-DE" sz="1600" baseline="30000" dirty="0">
                  <a:latin typeface="DB Neo Office" pitchFamily="2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</a:t>
              </a:r>
              <a:endParaRPr lang="de-DE" sz="1600" dirty="0">
                <a:effectLst/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7400A272-0C3B-6035-FACC-55113B614C51}"/>
                </a:ext>
              </a:extLst>
            </p:cNvPr>
            <p:cNvGrpSpPr/>
            <p:nvPr/>
          </p:nvGrpSpPr>
          <p:grpSpPr>
            <a:xfrm>
              <a:off x="569527" y="1317409"/>
              <a:ext cx="534129" cy="612000"/>
              <a:chOff x="595715" y="3071664"/>
              <a:chExt cx="264805" cy="312843"/>
            </a:xfrm>
          </p:grpSpPr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4F6D823B-D72C-1495-5E80-451AE879E01E}"/>
                  </a:ext>
                </a:extLst>
              </p:cNvPr>
              <p:cNvSpPr/>
              <p:nvPr/>
            </p:nvSpPr>
            <p:spPr>
              <a:xfrm>
                <a:off x="595715" y="3258731"/>
                <a:ext cx="264805" cy="125776"/>
              </a:xfrm>
              <a:custGeom>
                <a:avLst/>
                <a:gdLst>
                  <a:gd name="connsiteX0" fmla="*/ 14996 w 264805"/>
                  <a:gd name="connsiteY0" fmla="*/ 121834 h 125776"/>
                  <a:gd name="connsiteX1" fmla="*/ 20507 w 264805"/>
                  <a:gd name="connsiteY1" fmla="*/ 125705 h 125776"/>
                  <a:gd name="connsiteX2" fmla="*/ 59391 w 264805"/>
                  <a:gd name="connsiteY2" fmla="*/ 118903 h 125776"/>
                  <a:gd name="connsiteX3" fmla="*/ 63262 w 264805"/>
                  <a:gd name="connsiteY3" fmla="*/ 113392 h 125776"/>
                  <a:gd name="connsiteX4" fmla="*/ 62505 w 264805"/>
                  <a:gd name="connsiteY4" fmla="*/ 109051 h 125776"/>
                  <a:gd name="connsiteX5" fmla="*/ 71574 w 264805"/>
                  <a:gd name="connsiteY5" fmla="*/ 101685 h 125776"/>
                  <a:gd name="connsiteX6" fmla="*/ 84303 w 264805"/>
                  <a:gd name="connsiteY6" fmla="*/ 97613 h 125776"/>
                  <a:gd name="connsiteX7" fmla="*/ 147711 w 264805"/>
                  <a:gd name="connsiteY7" fmla="*/ 102247 h 125776"/>
                  <a:gd name="connsiteX8" fmla="*/ 148030 w 264805"/>
                  <a:gd name="connsiteY8" fmla="*/ 102260 h 125776"/>
                  <a:gd name="connsiteX9" fmla="*/ 148421 w 264805"/>
                  <a:gd name="connsiteY9" fmla="*/ 102260 h 125776"/>
                  <a:gd name="connsiteX10" fmla="*/ 187333 w 264805"/>
                  <a:gd name="connsiteY10" fmla="*/ 89518 h 125776"/>
                  <a:gd name="connsiteX11" fmla="*/ 187851 w 264805"/>
                  <a:gd name="connsiteY11" fmla="*/ 89079 h 125776"/>
                  <a:gd name="connsiteX12" fmla="*/ 263375 w 264805"/>
                  <a:gd name="connsiteY12" fmla="*/ 15129 h 125776"/>
                  <a:gd name="connsiteX13" fmla="*/ 263640 w 264805"/>
                  <a:gd name="connsiteY13" fmla="*/ 8605 h 125776"/>
                  <a:gd name="connsiteX14" fmla="*/ 229391 w 264805"/>
                  <a:gd name="connsiteY14" fmla="*/ 5337 h 125776"/>
                  <a:gd name="connsiteX15" fmla="*/ 194699 w 264805"/>
                  <a:gd name="connsiteY15" fmla="*/ 31277 h 125776"/>
                  <a:gd name="connsiteX16" fmla="*/ 164916 w 264805"/>
                  <a:gd name="connsiteY16" fmla="*/ 20227 h 125776"/>
                  <a:gd name="connsiteX17" fmla="*/ 129455 w 264805"/>
                  <a:gd name="connsiteY17" fmla="*/ 26429 h 125776"/>
                  <a:gd name="connsiteX18" fmla="*/ 112490 w 264805"/>
                  <a:gd name="connsiteY18" fmla="*/ 25545 h 125776"/>
                  <a:gd name="connsiteX19" fmla="*/ 108524 w 264805"/>
                  <a:gd name="connsiteY19" fmla="*/ 24413 h 125776"/>
                  <a:gd name="connsiteX20" fmla="*/ 49826 w 264805"/>
                  <a:gd name="connsiteY20" fmla="*/ 36599 h 125776"/>
                  <a:gd name="connsiteX21" fmla="*/ 48334 w 264805"/>
                  <a:gd name="connsiteY21" fmla="*/ 28060 h 125776"/>
                  <a:gd name="connsiteX22" fmla="*/ 42823 w 264805"/>
                  <a:gd name="connsiteY22" fmla="*/ 24189 h 125776"/>
                  <a:gd name="connsiteX23" fmla="*/ 3942 w 264805"/>
                  <a:gd name="connsiteY23" fmla="*/ 30990 h 125776"/>
                  <a:gd name="connsiteX24" fmla="*/ 71 w 264805"/>
                  <a:gd name="connsiteY24" fmla="*/ 36504 h 125776"/>
                  <a:gd name="connsiteX25" fmla="*/ 14996 w 264805"/>
                  <a:gd name="connsiteY25" fmla="*/ 121831 h 125776"/>
                  <a:gd name="connsiteX26" fmla="*/ 14996 w 264805"/>
                  <a:gd name="connsiteY26" fmla="*/ 121831 h 125776"/>
                  <a:gd name="connsiteX27" fmla="*/ 105922 w 264805"/>
                  <a:gd name="connsiteY27" fmla="*/ 33580 h 125776"/>
                  <a:gd name="connsiteX28" fmla="*/ 109887 w 264805"/>
                  <a:gd name="connsiteY28" fmla="*/ 34710 h 125776"/>
                  <a:gd name="connsiteX29" fmla="*/ 131099 w 264805"/>
                  <a:gd name="connsiteY29" fmla="*/ 35817 h 125776"/>
                  <a:gd name="connsiteX30" fmla="*/ 166560 w 264805"/>
                  <a:gd name="connsiteY30" fmla="*/ 29615 h 125776"/>
                  <a:gd name="connsiteX31" fmla="*/ 190690 w 264805"/>
                  <a:gd name="connsiteY31" fmla="*/ 42893 h 125776"/>
                  <a:gd name="connsiteX32" fmla="*/ 137604 w 264805"/>
                  <a:gd name="connsiteY32" fmla="*/ 52177 h 125776"/>
                  <a:gd name="connsiteX33" fmla="*/ 133673 w 264805"/>
                  <a:gd name="connsiteY33" fmla="*/ 57278 h 125776"/>
                  <a:gd name="connsiteX34" fmla="*/ 138418 w 264805"/>
                  <a:gd name="connsiteY34" fmla="*/ 61631 h 125776"/>
                  <a:gd name="connsiteX35" fmla="*/ 139244 w 264805"/>
                  <a:gd name="connsiteY35" fmla="*/ 61559 h 125776"/>
                  <a:gd name="connsiteX36" fmla="*/ 197532 w 264805"/>
                  <a:gd name="connsiteY36" fmla="*/ 51363 h 125776"/>
                  <a:gd name="connsiteX37" fmla="*/ 201403 w 264805"/>
                  <a:gd name="connsiteY37" fmla="*/ 45848 h 125776"/>
                  <a:gd name="connsiteX38" fmla="*/ 199595 w 264805"/>
                  <a:gd name="connsiteY38" fmla="*/ 39511 h 125776"/>
                  <a:gd name="connsiteX39" fmla="*/ 235142 w 264805"/>
                  <a:gd name="connsiteY39" fmla="*/ 12930 h 125776"/>
                  <a:gd name="connsiteX40" fmla="*/ 235239 w 264805"/>
                  <a:gd name="connsiteY40" fmla="*/ 12854 h 125776"/>
                  <a:gd name="connsiteX41" fmla="*/ 253044 w 264805"/>
                  <a:gd name="connsiteY41" fmla="*/ 11917 h 125776"/>
                  <a:gd name="connsiteX42" fmla="*/ 181434 w 264805"/>
                  <a:gd name="connsiteY42" fmla="*/ 82054 h 125776"/>
                  <a:gd name="connsiteX43" fmla="*/ 148421 w 264805"/>
                  <a:gd name="connsiteY43" fmla="*/ 92774 h 125776"/>
                  <a:gd name="connsiteX44" fmla="*/ 148241 w 264805"/>
                  <a:gd name="connsiteY44" fmla="*/ 92774 h 125776"/>
                  <a:gd name="connsiteX45" fmla="*/ 84994 w 264805"/>
                  <a:gd name="connsiteY45" fmla="*/ 88133 h 125776"/>
                  <a:gd name="connsiteX46" fmla="*/ 65530 w 264805"/>
                  <a:gd name="connsiteY46" fmla="*/ 94329 h 125776"/>
                  <a:gd name="connsiteX47" fmla="*/ 60624 w 264805"/>
                  <a:gd name="connsiteY47" fmla="*/ 98307 h 125776"/>
                  <a:gd name="connsiteX48" fmla="*/ 51773 w 264805"/>
                  <a:gd name="connsiteY48" fmla="*/ 47691 h 125776"/>
                  <a:gd name="connsiteX49" fmla="*/ 105925 w 264805"/>
                  <a:gd name="connsiteY49" fmla="*/ 33574 h 125776"/>
                  <a:gd name="connsiteX50" fmla="*/ 105925 w 264805"/>
                  <a:gd name="connsiteY50" fmla="*/ 33580 h 125776"/>
                  <a:gd name="connsiteX51" fmla="*/ 39776 w 264805"/>
                  <a:gd name="connsiteY51" fmla="*/ 34394 h 125776"/>
                  <a:gd name="connsiteX52" fmla="*/ 53060 w 264805"/>
                  <a:gd name="connsiteY52" fmla="*/ 110338 h 125776"/>
                  <a:gd name="connsiteX53" fmla="*/ 23561 w 264805"/>
                  <a:gd name="connsiteY53" fmla="*/ 115499 h 125776"/>
                  <a:gd name="connsiteX54" fmla="*/ 10277 w 264805"/>
                  <a:gd name="connsiteY54" fmla="*/ 39555 h 125776"/>
                  <a:gd name="connsiteX55" fmla="*/ 39776 w 264805"/>
                  <a:gd name="connsiteY55" fmla="*/ 34394 h 125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264805" h="125776">
                    <a:moveTo>
                      <a:pt x="14996" y="121834"/>
                    </a:moveTo>
                    <a:cubicBezTo>
                      <a:pt x="15450" y="124424"/>
                      <a:pt x="17917" y="126156"/>
                      <a:pt x="20507" y="125705"/>
                    </a:cubicBezTo>
                    <a:lnTo>
                      <a:pt x="59391" y="118903"/>
                    </a:lnTo>
                    <a:cubicBezTo>
                      <a:pt x="61981" y="118449"/>
                      <a:pt x="63713" y="115982"/>
                      <a:pt x="63262" y="113392"/>
                    </a:cubicBezTo>
                    <a:lnTo>
                      <a:pt x="62505" y="109051"/>
                    </a:lnTo>
                    <a:lnTo>
                      <a:pt x="71574" y="101685"/>
                    </a:lnTo>
                    <a:cubicBezTo>
                      <a:pt x="75126" y="98726"/>
                      <a:pt x="79694" y="97266"/>
                      <a:pt x="84303" y="97613"/>
                    </a:cubicBezTo>
                    <a:lnTo>
                      <a:pt x="147711" y="102247"/>
                    </a:lnTo>
                    <a:cubicBezTo>
                      <a:pt x="147818" y="102256"/>
                      <a:pt x="147922" y="102260"/>
                      <a:pt x="148030" y="102260"/>
                    </a:cubicBezTo>
                    <a:lnTo>
                      <a:pt x="148421" y="102260"/>
                    </a:lnTo>
                    <a:cubicBezTo>
                      <a:pt x="162412" y="102228"/>
                      <a:pt x="176036" y="97770"/>
                      <a:pt x="187333" y="89518"/>
                    </a:cubicBezTo>
                    <a:cubicBezTo>
                      <a:pt x="187513" y="89385"/>
                      <a:pt x="187686" y="89240"/>
                      <a:pt x="187851" y="89079"/>
                    </a:cubicBezTo>
                    <a:lnTo>
                      <a:pt x="263375" y="15129"/>
                    </a:lnTo>
                    <a:cubicBezTo>
                      <a:pt x="265177" y="13365"/>
                      <a:pt x="265290" y="10507"/>
                      <a:pt x="263640" y="8605"/>
                    </a:cubicBezTo>
                    <a:cubicBezTo>
                      <a:pt x="254924" y="-1455"/>
                      <a:pt x="239848" y="-2890"/>
                      <a:pt x="229391" y="5337"/>
                    </a:cubicBezTo>
                    <a:lnTo>
                      <a:pt x="194699" y="31277"/>
                    </a:lnTo>
                    <a:cubicBezTo>
                      <a:pt x="187485" y="22498"/>
                      <a:pt x="176109" y="18277"/>
                      <a:pt x="164916" y="20227"/>
                    </a:cubicBezTo>
                    <a:lnTo>
                      <a:pt x="129455" y="26429"/>
                    </a:lnTo>
                    <a:cubicBezTo>
                      <a:pt x="123805" y="27410"/>
                      <a:pt x="118007" y="27107"/>
                      <a:pt x="112490" y="25545"/>
                    </a:cubicBezTo>
                    <a:lnTo>
                      <a:pt x="108524" y="24413"/>
                    </a:lnTo>
                    <a:cubicBezTo>
                      <a:pt x="88145" y="18561"/>
                      <a:pt x="66192" y="23116"/>
                      <a:pt x="49826" y="36599"/>
                    </a:cubicBezTo>
                    <a:lnTo>
                      <a:pt x="48334" y="28060"/>
                    </a:lnTo>
                    <a:cubicBezTo>
                      <a:pt x="47880" y="25470"/>
                      <a:pt x="45413" y="23738"/>
                      <a:pt x="42823" y="24189"/>
                    </a:cubicBezTo>
                    <a:lnTo>
                      <a:pt x="3942" y="30990"/>
                    </a:lnTo>
                    <a:cubicBezTo>
                      <a:pt x="1352" y="31444"/>
                      <a:pt x="-380" y="33915"/>
                      <a:pt x="71" y="36504"/>
                    </a:cubicBezTo>
                    <a:lnTo>
                      <a:pt x="14996" y="121831"/>
                    </a:lnTo>
                    <a:lnTo>
                      <a:pt x="14996" y="121831"/>
                    </a:lnTo>
                    <a:close/>
                    <a:moveTo>
                      <a:pt x="105922" y="33580"/>
                    </a:moveTo>
                    <a:lnTo>
                      <a:pt x="109887" y="34710"/>
                    </a:lnTo>
                    <a:cubicBezTo>
                      <a:pt x="116786" y="36665"/>
                      <a:pt x="124036" y="37041"/>
                      <a:pt x="131099" y="35817"/>
                    </a:cubicBezTo>
                    <a:lnTo>
                      <a:pt x="166560" y="29615"/>
                    </a:lnTo>
                    <a:cubicBezTo>
                      <a:pt x="176721" y="27851"/>
                      <a:pt x="186743" y="33366"/>
                      <a:pt x="190690" y="42893"/>
                    </a:cubicBezTo>
                    <a:lnTo>
                      <a:pt x="137604" y="52177"/>
                    </a:lnTo>
                    <a:cubicBezTo>
                      <a:pt x="135165" y="52599"/>
                      <a:pt x="133458" y="54817"/>
                      <a:pt x="133673" y="57278"/>
                    </a:cubicBezTo>
                    <a:cubicBezTo>
                      <a:pt x="133884" y="59741"/>
                      <a:pt x="135944" y="61631"/>
                      <a:pt x="138418" y="61631"/>
                    </a:cubicBezTo>
                    <a:cubicBezTo>
                      <a:pt x="138695" y="61631"/>
                      <a:pt x="138970" y="61609"/>
                      <a:pt x="139244" y="61559"/>
                    </a:cubicBezTo>
                    <a:lnTo>
                      <a:pt x="197532" y="51363"/>
                    </a:lnTo>
                    <a:cubicBezTo>
                      <a:pt x="200122" y="50909"/>
                      <a:pt x="201854" y="48438"/>
                      <a:pt x="201403" y="45848"/>
                    </a:cubicBezTo>
                    <a:cubicBezTo>
                      <a:pt x="201024" y="43678"/>
                      <a:pt x="200415" y="41552"/>
                      <a:pt x="199595" y="39511"/>
                    </a:cubicBezTo>
                    <a:lnTo>
                      <a:pt x="235142" y="12930"/>
                    </a:lnTo>
                    <a:lnTo>
                      <a:pt x="235239" y="12854"/>
                    </a:lnTo>
                    <a:cubicBezTo>
                      <a:pt x="240375" y="8794"/>
                      <a:pt x="247514" y="8419"/>
                      <a:pt x="253044" y="11917"/>
                    </a:cubicBezTo>
                    <a:lnTo>
                      <a:pt x="181434" y="82054"/>
                    </a:lnTo>
                    <a:cubicBezTo>
                      <a:pt x="171822" y="88994"/>
                      <a:pt x="160276" y="92745"/>
                      <a:pt x="148421" y="92774"/>
                    </a:cubicBezTo>
                    <a:lnTo>
                      <a:pt x="148241" y="92774"/>
                    </a:lnTo>
                    <a:lnTo>
                      <a:pt x="84994" y="88133"/>
                    </a:lnTo>
                    <a:cubicBezTo>
                      <a:pt x="77947" y="87597"/>
                      <a:pt x="70968" y="89818"/>
                      <a:pt x="65530" y="94329"/>
                    </a:cubicBezTo>
                    <a:lnTo>
                      <a:pt x="60624" y="98307"/>
                    </a:lnTo>
                    <a:lnTo>
                      <a:pt x="51773" y="47691"/>
                    </a:lnTo>
                    <a:cubicBezTo>
                      <a:pt x="65890" y="33451"/>
                      <a:pt x="86650" y="28037"/>
                      <a:pt x="105925" y="33574"/>
                    </a:cubicBezTo>
                    <a:lnTo>
                      <a:pt x="105925" y="33580"/>
                    </a:lnTo>
                    <a:close/>
                    <a:moveTo>
                      <a:pt x="39776" y="34394"/>
                    </a:moveTo>
                    <a:lnTo>
                      <a:pt x="53060" y="110338"/>
                    </a:lnTo>
                    <a:lnTo>
                      <a:pt x="23561" y="115499"/>
                    </a:lnTo>
                    <a:lnTo>
                      <a:pt x="10277" y="39555"/>
                    </a:lnTo>
                    <a:lnTo>
                      <a:pt x="39776" y="34394"/>
                    </a:lnTo>
                    <a:close/>
                  </a:path>
                </a:pathLst>
              </a:custGeom>
              <a:solidFill>
                <a:srgbClr val="000000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69" name="Grafik 6">
                <a:extLst>
                  <a:ext uri="{FF2B5EF4-FFF2-40B4-BE49-F238E27FC236}">
                    <a16:creationId xmlns:a16="http://schemas.microsoft.com/office/drawing/2014/main" id="{E88A8ADB-37F8-6EFB-A578-AC37D0DEA7AB}"/>
                  </a:ext>
                </a:extLst>
              </p:cNvPr>
              <p:cNvGrpSpPr/>
              <p:nvPr/>
            </p:nvGrpSpPr>
            <p:grpSpPr>
              <a:xfrm>
                <a:off x="629187" y="3071664"/>
                <a:ext cx="197858" cy="197858"/>
                <a:chOff x="891967" y="4243656"/>
                <a:chExt cx="197858" cy="197858"/>
              </a:xfrm>
            </p:grpSpPr>
            <p:sp>
              <p:nvSpPr>
                <p:cNvPr id="115" name="Freihandform: Form 114">
                  <a:extLst>
                    <a:ext uri="{FF2B5EF4-FFF2-40B4-BE49-F238E27FC236}">
                      <a16:creationId xmlns:a16="http://schemas.microsoft.com/office/drawing/2014/main" id="{2DBC5EA2-C185-3964-CB98-C7FACDE7D286}"/>
                    </a:ext>
                  </a:extLst>
                </p:cNvPr>
                <p:cNvSpPr/>
                <p:nvPr/>
              </p:nvSpPr>
              <p:spPr>
                <a:xfrm>
                  <a:off x="891967" y="4243656"/>
                  <a:ext cx="197858" cy="197858"/>
                </a:xfrm>
                <a:custGeom>
                  <a:avLst/>
                  <a:gdLst>
                    <a:gd name="connsiteX0" fmla="*/ 98929 w 197858"/>
                    <a:gd name="connsiteY0" fmla="*/ 0 h 197858"/>
                    <a:gd name="connsiteX1" fmla="*/ 197858 w 197858"/>
                    <a:gd name="connsiteY1" fmla="*/ 98929 h 197858"/>
                    <a:gd name="connsiteX2" fmla="*/ 98929 w 197858"/>
                    <a:gd name="connsiteY2" fmla="*/ 197858 h 197858"/>
                    <a:gd name="connsiteX3" fmla="*/ 0 w 197858"/>
                    <a:gd name="connsiteY3" fmla="*/ 98929 h 197858"/>
                    <a:gd name="connsiteX4" fmla="*/ 98929 w 197858"/>
                    <a:gd name="connsiteY4" fmla="*/ 0 h 197858"/>
                    <a:gd name="connsiteX5" fmla="*/ 103428 w 197858"/>
                    <a:gd name="connsiteY5" fmla="*/ 8994 h 197858"/>
                    <a:gd name="connsiteX6" fmla="*/ 103428 w 197858"/>
                    <a:gd name="connsiteY6" fmla="*/ 17988 h 197858"/>
                    <a:gd name="connsiteX7" fmla="*/ 98932 w 197858"/>
                    <a:gd name="connsiteY7" fmla="*/ 22483 h 197858"/>
                    <a:gd name="connsiteX8" fmla="*/ 94437 w 197858"/>
                    <a:gd name="connsiteY8" fmla="*/ 18436 h 197858"/>
                    <a:gd name="connsiteX9" fmla="*/ 94437 w 197858"/>
                    <a:gd name="connsiteY9" fmla="*/ 8994 h 197858"/>
                    <a:gd name="connsiteX10" fmla="*/ 56663 w 197858"/>
                    <a:gd name="connsiteY10" fmla="*/ 19338 h 197858"/>
                    <a:gd name="connsiteX11" fmla="*/ 59588 w 197858"/>
                    <a:gd name="connsiteY11" fmla="*/ 24060 h 197858"/>
                    <a:gd name="connsiteX12" fmla="*/ 58014 w 197858"/>
                    <a:gd name="connsiteY12" fmla="*/ 30130 h 197858"/>
                    <a:gd name="connsiteX13" fmla="*/ 52168 w 197858"/>
                    <a:gd name="connsiteY13" fmla="*/ 29007 h 197858"/>
                    <a:gd name="connsiteX14" fmla="*/ 51717 w 197858"/>
                    <a:gd name="connsiteY14" fmla="*/ 29007 h 197858"/>
                    <a:gd name="connsiteX15" fmla="*/ 48793 w 197858"/>
                    <a:gd name="connsiteY15" fmla="*/ 24284 h 197858"/>
                    <a:gd name="connsiteX16" fmla="*/ 22710 w 197858"/>
                    <a:gd name="connsiteY16" fmla="*/ 51266 h 197858"/>
                    <a:gd name="connsiteX17" fmla="*/ 27881 w 197858"/>
                    <a:gd name="connsiteY17" fmla="*/ 53963 h 197858"/>
                    <a:gd name="connsiteX18" fmla="*/ 29679 w 197858"/>
                    <a:gd name="connsiteY18" fmla="*/ 60033 h 197858"/>
                    <a:gd name="connsiteX19" fmla="*/ 24057 w 197858"/>
                    <a:gd name="connsiteY19" fmla="*/ 62055 h 197858"/>
                    <a:gd name="connsiteX20" fmla="*/ 23606 w 197858"/>
                    <a:gd name="connsiteY20" fmla="*/ 61831 h 197858"/>
                    <a:gd name="connsiteX21" fmla="*/ 18208 w 197858"/>
                    <a:gd name="connsiteY21" fmla="*/ 58906 h 197858"/>
                    <a:gd name="connsiteX22" fmla="*/ 8991 w 197858"/>
                    <a:gd name="connsiteY22" fmla="*/ 94431 h 197858"/>
                    <a:gd name="connsiteX23" fmla="*/ 17985 w 197858"/>
                    <a:gd name="connsiteY23" fmla="*/ 94431 h 197858"/>
                    <a:gd name="connsiteX24" fmla="*/ 22480 w 197858"/>
                    <a:gd name="connsiteY24" fmla="*/ 98926 h 197858"/>
                    <a:gd name="connsiteX25" fmla="*/ 18432 w 197858"/>
                    <a:gd name="connsiteY25" fmla="*/ 103421 h 197858"/>
                    <a:gd name="connsiteX26" fmla="*/ 8991 w 197858"/>
                    <a:gd name="connsiteY26" fmla="*/ 103421 h 197858"/>
                    <a:gd name="connsiteX27" fmla="*/ 19335 w 197858"/>
                    <a:gd name="connsiteY27" fmla="*/ 141195 h 197858"/>
                    <a:gd name="connsiteX28" fmla="*/ 24057 w 197858"/>
                    <a:gd name="connsiteY28" fmla="*/ 138270 h 197858"/>
                    <a:gd name="connsiteX29" fmla="*/ 30354 w 197858"/>
                    <a:gd name="connsiteY29" fmla="*/ 139845 h 197858"/>
                    <a:gd name="connsiteX30" fmla="*/ 29231 w 197858"/>
                    <a:gd name="connsiteY30" fmla="*/ 145690 h 197858"/>
                    <a:gd name="connsiteX31" fmla="*/ 28780 w 197858"/>
                    <a:gd name="connsiteY31" fmla="*/ 145914 h 197858"/>
                    <a:gd name="connsiteX32" fmla="*/ 24057 w 197858"/>
                    <a:gd name="connsiteY32" fmla="*/ 148838 h 197858"/>
                    <a:gd name="connsiteX33" fmla="*/ 51263 w 197858"/>
                    <a:gd name="connsiteY33" fmla="*/ 175145 h 197858"/>
                    <a:gd name="connsiteX34" fmla="*/ 53960 w 197858"/>
                    <a:gd name="connsiteY34" fmla="*/ 170422 h 197858"/>
                    <a:gd name="connsiteX35" fmla="*/ 60029 w 197858"/>
                    <a:gd name="connsiteY35" fmla="*/ 168624 h 197858"/>
                    <a:gd name="connsiteX36" fmla="*/ 62051 w 197858"/>
                    <a:gd name="connsiteY36" fmla="*/ 174246 h 197858"/>
                    <a:gd name="connsiteX37" fmla="*/ 61827 w 197858"/>
                    <a:gd name="connsiteY37" fmla="*/ 174697 h 197858"/>
                    <a:gd name="connsiteX38" fmla="*/ 59130 w 197858"/>
                    <a:gd name="connsiteY38" fmla="*/ 179419 h 197858"/>
                    <a:gd name="connsiteX39" fmla="*/ 94431 w 197858"/>
                    <a:gd name="connsiteY39" fmla="*/ 188637 h 197858"/>
                    <a:gd name="connsiteX40" fmla="*/ 94431 w 197858"/>
                    <a:gd name="connsiteY40" fmla="*/ 179867 h 197858"/>
                    <a:gd name="connsiteX41" fmla="*/ 98926 w 197858"/>
                    <a:gd name="connsiteY41" fmla="*/ 175372 h 197858"/>
                    <a:gd name="connsiteX42" fmla="*/ 103421 w 197858"/>
                    <a:gd name="connsiteY42" fmla="*/ 179419 h 197858"/>
                    <a:gd name="connsiteX43" fmla="*/ 103421 w 197858"/>
                    <a:gd name="connsiteY43" fmla="*/ 188637 h 197858"/>
                    <a:gd name="connsiteX44" fmla="*/ 140968 w 197858"/>
                    <a:gd name="connsiteY44" fmla="*/ 178293 h 197858"/>
                    <a:gd name="connsiteX45" fmla="*/ 138043 w 197858"/>
                    <a:gd name="connsiteY45" fmla="*/ 173347 h 197858"/>
                    <a:gd name="connsiteX46" fmla="*/ 139617 w 197858"/>
                    <a:gd name="connsiteY46" fmla="*/ 167277 h 197858"/>
                    <a:gd name="connsiteX47" fmla="*/ 145463 w 197858"/>
                    <a:gd name="connsiteY47" fmla="*/ 168400 h 197858"/>
                    <a:gd name="connsiteX48" fmla="*/ 145687 w 197858"/>
                    <a:gd name="connsiteY48" fmla="*/ 168851 h 197858"/>
                    <a:gd name="connsiteX49" fmla="*/ 148611 w 197858"/>
                    <a:gd name="connsiteY49" fmla="*/ 173798 h 197858"/>
                    <a:gd name="connsiteX50" fmla="*/ 174918 w 197858"/>
                    <a:gd name="connsiteY50" fmla="*/ 146816 h 197858"/>
                    <a:gd name="connsiteX51" fmla="*/ 169971 w 197858"/>
                    <a:gd name="connsiteY51" fmla="*/ 143892 h 197858"/>
                    <a:gd name="connsiteX52" fmla="*/ 168173 w 197858"/>
                    <a:gd name="connsiteY52" fmla="*/ 137822 h 197858"/>
                    <a:gd name="connsiteX53" fmla="*/ 173795 w 197858"/>
                    <a:gd name="connsiteY53" fmla="*/ 135800 h 197858"/>
                    <a:gd name="connsiteX54" fmla="*/ 174246 w 197858"/>
                    <a:gd name="connsiteY54" fmla="*/ 136024 h 197858"/>
                    <a:gd name="connsiteX55" fmla="*/ 179192 w 197858"/>
                    <a:gd name="connsiteY55" fmla="*/ 138949 h 197858"/>
                    <a:gd name="connsiteX56" fmla="*/ 188634 w 197858"/>
                    <a:gd name="connsiteY56" fmla="*/ 103200 h 197858"/>
                    <a:gd name="connsiteX57" fmla="*/ 179640 w 197858"/>
                    <a:gd name="connsiteY57" fmla="*/ 103200 h 197858"/>
                    <a:gd name="connsiteX58" fmla="*/ 175145 w 197858"/>
                    <a:gd name="connsiteY58" fmla="*/ 98705 h 197858"/>
                    <a:gd name="connsiteX59" fmla="*/ 179192 w 197858"/>
                    <a:gd name="connsiteY59" fmla="*/ 94210 h 197858"/>
                    <a:gd name="connsiteX60" fmla="*/ 188410 w 197858"/>
                    <a:gd name="connsiteY60" fmla="*/ 94210 h 197858"/>
                    <a:gd name="connsiteX61" fmla="*/ 177842 w 197858"/>
                    <a:gd name="connsiteY61" fmla="*/ 56212 h 197858"/>
                    <a:gd name="connsiteX62" fmla="*/ 173120 w 197858"/>
                    <a:gd name="connsiteY62" fmla="*/ 59585 h 197858"/>
                    <a:gd name="connsiteX63" fmla="*/ 167050 w 197858"/>
                    <a:gd name="connsiteY63" fmla="*/ 58010 h 197858"/>
                    <a:gd name="connsiteX64" fmla="*/ 168173 w 197858"/>
                    <a:gd name="connsiteY64" fmla="*/ 52165 h 197858"/>
                    <a:gd name="connsiteX65" fmla="*/ 168624 w 197858"/>
                    <a:gd name="connsiteY65" fmla="*/ 51941 h 197858"/>
                    <a:gd name="connsiteX66" fmla="*/ 173795 w 197858"/>
                    <a:gd name="connsiteY66" fmla="*/ 48793 h 197858"/>
                    <a:gd name="connsiteX67" fmla="*/ 146813 w 197858"/>
                    <a:gd name="connsiteY67" fmla="*/ 22710 h 197858"/>
                    <a:gd name="connsiteX68" fmla="*/ 143889 w 197858"/>
                    <a:gd name="connsiteY68" fmla="*/ 27881 h 197858"/>
                    <a:gd name="connsiteX69" fmla="*/ 137819 w 197858"/>
                    <a:gd name="connsiteY69" fmla="*/ 29679 h 197858"/>
                    <a:gd name="connsiteX70" fmla="*/ 135797 w 197858"/>
                    <a:gd name="connsiteY70" fmla="*/ 24057 h 197858"/>
                    <a:gd name="connsiteX71" fmla="*/ 136021 w 197858"/>
                    <a:gd name="connsiteY71" fmla="*/ 23606 h 197858"/>
                    <a:gd name="connsiteX72" fmla="*/ 138945 w 197858"/>
                    <a:gd name="connsiteY72" fmla="*/ 18436 h 197858"/>
                    <a:gd name="connsiteX73" fmla="*/ 103421 w 197858"/>
                    <a:gd name="connsiteY73" fmla="*/ 8994 h 197858"/>
                    <a:gd name="connsiteX74" fmla="*/ 103428 w 197858"/>
                    <a:gd name="connsiteY74" fmla="*/ 8994 h 1978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</a:cxnLst>
                  <a:rect l="l" t="t" r="r" b="b"/>
                  <a:pathLst>
                    <a:path w="197858" h="197858">
                      <a:moveTo>
                        <a:pt x="98929" y="0"/>
                      </a:moveTo>
                      <a:cubicBezTo>
                        <a:pt x="153564" y="0"/>
                        <a:pt x="197858" y="44294"/>
                        <a:pt x="197858" y="98929"/>
                      </a:cubicBezTo>
                      <a:cubicBezTo>
                        <a:pt x="197858" y="153564"/>
                        <a:pt x="153564" y="197858"/>
                        <a:pt x="98929" y="197858"/>
                      </a:cubicBezTo>
                      <a:cubicBezTo>
                        <a:pt x="44294" y="197858"/>
                        <a:pt x="0" y="153564"/>
                        <a:pt x="0" y="98929"/>
                      </a:cubicBezTo>
                      <a:cubicBezTo>
                        <a:pt x="0" y="44294"/>
                        <a:pt x="44294" y="0"/>
                        <a:pt x="98929" y="0"/>
                      </a:cubicBezTo>
                      <a:close/>
                      <a:moveTo>
                        <a:pt x="103428" y="8994"/>
                      </a:moveTo>
                      <a:lnTo>
                        <a:pt x="103428" y="17988"/>
                      </a:lnTo>
                      <a:cubicBezTo>
                        <a:pt x="103428" y="20461"/>
                        <a:pt x="101405" y="22483"/>
                        <a:pt x="98932" y="22483"/>
                      </a:cubicBezTo>
                      <a:cubicBezTo>
                        <a:pt x="96683" y="22483"/>
                        <a:pt x="94661" y="20685"/>
                        <a:pt x="94437" y="18436"/>
                      </a:cubicBezTo>
                      <a:lnTo>
                        <a:pt x="94437" y="8994"/>
                      </a:lnTo>
                      <a:cubicBezTo>
                        <a:pt x="81172" y="9669"/>
                        <a:pt x="68354" y="13265"/>
                        <a:pt x="56663" y="19338"/>
                      </a:cubicBezTo>
                      <a:lnTo>
                        <a:pt x="59588" y="24060"/>
                      </a:lnTo>
                      <a:cubicBezTo>
                        <a:pt x="60938" y="26082"/>
                        <a:pt x="60263" y="29007"/>
                        <a:pt x="58014" y="30130"/>
                      </a:cubicBezTo>
                      <a:cubicBezTo>
                        <a:pt x="55991" y="31253"/>
                        <a:pt x="53518" y="30805"/>
                        <a:pt x="52168" y="29007"/>
                      </a:cubicBezTo>
                      <a:lnTo>
                        <a:pt x="51717" y="29007"/>
                      </a:lnTo>
                      <a:lnTo>
                        <a:pt x="48793" y="24284"/>
                      </a:lnTo>
                      <a:cubicBezTo>
                        <a:pt x="38225" y="31253"/>
                        <a:pt x="29458" y="40474"/>
                        <a:pt x="22710" y="51266"/>
                      </a:cubicBezTo>
                      <a:lnTo>
                        <a:pt x="27881" y="53963"/>
                      </a:lnTo>
                      <a:cubicBezTo>
                        <a:pt x="30130" y="55086"/>
                        <a:pt x="30805" y="57786"/>
                        <a:pt x="29679" y="60033"/>
                      </a:cubicBezTo>
                      <a:cubicBezTo>
                        <a:pt x="28556" y="62055"/>
                        <a:pt x="26306" y="62957"/>
                        <a:pt x="24057" y="62055"/>
                      </a:cubicBezTo>
                      <a:lnTo>
                        <a:pt x="23606" y="61831"/>
                      </a:lnTo>
                      <a:lnTo>
                        <a:pt x="18208" y="58906"/>
                      </a:lnTo>
                      <a:cubicBezTo>
                        <a:pt x="12811" y="70149"/>
                        <a:pt x="9666" y="82288"/>
                        <a:pt x="8991" y="94431"/>
                      </a:cubicBezTo>
                      <a:lnTo>
                        <a:pt x="17985" y="94431"/>
                      </a:lnTo>
                      <a:cubicBezTo>
                        <a:pt x="20458" y="94431"/>
                        <a:pt x="22480" y="96453"/>
                        <a:pt x="22480" y="98926"/>
                      </a:cubicBezTo>
                      <a:cubicBezTo>
                        <a:pt x="22480" y="101175"/>
                        <a:pt x="20682" y="103197"/>
                        <a:pt x="18432" y="103421"/>
                      </a:cubicBezTo>
                      <a:lnTo>
                        <a:pt x="8991" y="103421"/>
                      </a:lnTo>
                      <a:cubicBezTo>
                        <a:pt x="9666" y="116686"/>
                        <a:pt x="13262" y="129504"/>
                        <a:pt x="19335" y="141195"/>
                      </a:cubicBezTo>
                      <a:lnTo>
                        <a:pt x="24057" y="138270"/>
                      </a:lnTo>
                      <a:cubicBezTo>
                        <a:pt x="26079" y="136920"/>
                        <a:pt x="29004" y="137595"/>
                        <a:pt x="30354" y="139845"/>
                      </a:cubicBezTo>
                      <a:cubicBezTo>
                        <a:pt x="31477" y="141867"/>
                        <a:pt x="31029" y="144340"/>
                        <a:pt x="29231" y="145690"/>
                      </a:cubicBezTo>
                      <a:lnTo>
                        <a:pt x="28780" y="145914"/>
                      </a:lnTo>
                      <a:lnTo>
                        <a:pt x="24057" y="148838"/>
                      </a:lnTo>
                      <a:cubicBezTo>
                        <a:pt x="31253" y="159406"/>
                        <a:pt x="40471" y="168400"/>
                        <a:pt x="51263" y="175145"/>
                      </a:cubicBezTo>
                      <a:lnTo>
                        <a:pt x="53960" y="170422"/>
                      </a:lnTo>
                      <a:cubicBezTo>
                        <a:pt x="55083" y="168173"/>
                        <a:pt x="58007" y="167498"/>
                        <a:pt x="60029" y="168624"/>
                      </a:cubicBezTo>
                      <a:cubicBezTo>
                        <a:pt x="62051" y="169750"/>
                        <a:pt x="62954" y="172220"/>
                        <a:pt x="62051" y="174246"/>
                      </a:cubicBezTo>
                      <a:lnTo>
                        <a:pt x="61827" y="174697"/>
                      </a:lnTo>
                      <a:lnTo>
                        <a:pt x="59130" y="179419"/>
                      </a:lnTo>
                      <a:cubicBezTo>
                        <a:pt x="70146" y="184817"/>
                        <a:pt x="82064" y="187962"/>
                        <a:pt x="94431" y="188637"/>
                      </a:cubicBezTo>
                      <a:lnTo>
                        <a:pt x="94431" y="179867"/>
                      </a:lnTo>
                      <a:cubicBezTo>
                        <a:pt x="94431" y="177394"/>
                        <a:pt x="96453" y="175372"/>
                        <a:pt x="98926" y="175372"/>
                      </a:cubicBezTo>
                      <a:cubicBezTo>
                        <a:pt x="101175" y="175372"/>
                        <a:pt x="103197" y="177170"/>
                        <a:pt x="103421" y="179419"/>
                      </a:cubicBezTo>
                      <a:lnTo>
                        <a:pt x="103421" y="188637"/>
                      </a:lnTo>
                      <a:cubicBezTo>
                        <a:pt x="116462" y="187962"/>
                        <a:pt x="129277" y="184590"/>
                        <a:pt x="140968" y="178293"/>
                      </a:cubicBezTo>
                      <a:lnTo>
                        <a:pt x="138043" y="173347"/>
                      </a:lnTo>
                      <a:cubicBezTo>
                        <a:pt x="136693" y="171325"/>
                        <a:pt x="137368" y="168400"/>
                        <a:pt x="139617" y="167277"/>
                      </a:cubicBezTo>
                      <a:cubicBezTo>
                        <a:pt x="141640" y="166154"/>
                        <a:pt x="144113" y="166602"/>
                        <a:pt x="145463" y="168400"/>
                      </a:cubicBezTo>
                      <a:lnTo>
                        <a:pt x="145687" y="168851"/>
                      </a:lnTo>
                      <a:lnTo>
                        <a:pt x="148611" y="173798"/>
                      </a:lnTo>
                      <a:cubicBezTo>
                        <a:pt x="159179" y="166829"/>
                        <a:pt x="168173" y="157608"/>
                        <a:pt x="174918" y="146816"/>
                      </a:cubicBezTo>
                      <a:lnTo>
                        <a:pt x="169971" y="143892"/>
                      </a:lnTo>
                      <a:cubicBezTo>
                        <a:pt x="167722" y="142769"/>
                        <a:pt x="167047" y="139845"/>
                        <a:pt x="168173" y="137822"/>
                      </a:cubicBezTo>
                      <a:cubicBezTo>
                        <a:pt x="169296" y="135800"/>
                        <a:pt x="171769" y="134898"/>
                        <a:pt x="173795" y="135800"/>
                      </a:cubicBezTo>
                      <a:lnTo>
                        <a:pt x="174246" y="136024"/>
                      </a:lnTo>
                      <a:lnTo>
                        <a:pt x="179192" y="138949"/>
                      </a:lnTo>
                      <a:cubicBezTo>
                        <a:pt x="184814" y="127706"/>
                        <a:pt x="187962" y="115567"/>
                        <a:pt x="188634" y="103200"/>
                      </a:cubicBezTo>
                      <a:lnTo>
                        <a:pt x="179640" y="103200"/>
                      </a:lnTo>
                      <a:cubicBezTo>
                        <a:pt x="177167" y="103200"/>
                        <a:pt x="175145" y="101178"/>
                        <a:pt x="175145" y="98705"/>
                      </a:cubicBezTo>
                      <a:cubicBezTo>
                        <a:pt x="175145" y="96456"/>
                        <a:pt x="176943" y="94434"/>
                        <a:pt x="179192" y="94210"/>
                      </a:cubicBezTo>
                      <a:lnTo>
                        <a:pt x="188410" y="94210"/>
                      </a:lnTo>
                      <a:cubicBezTo>
                        <a:pt x="187735" y="80945"/>
                        <a:pt x="184139" y="67903"/>
                        <a:pt x="177842" y="56212"/>
                      </a:cubicBezTo>
                      <a:lnTo>
                        <a:pt x="173120" y="59585"/>
                      </a:lnTo>
                      <a:cubicBezTo>
                        <a:pt x="171097" y="60935"/>
                        <a:pt x="168173" y="60260"/>
                        <a:pt x="167050" y="58010"/>
                      </a:cubicBezTo>
                      <a:cubicBezTo>
                        <a:pt x="165927" y="55988"/>
                        <a:pt x="166375" y="53515"/>
                        <a:pt x="168173" y="52165"/>
                      </a:cubicBezTo>
                      <a:lnTo>
                        <a:pt x="168624" y="51941"/>
                      </a:lnTo>
                      <a:lnTo>
                        <a:pt x="173795" y="48793"/>
                      </a:lnTo>
                      <a:cubicBezTo>
                        <a:pt x="166826" y="38225"/>
                        <a:pt x="157605" y="29458"/>
                        <a:pt x="146813" y="22710"/>
                      </a:cubicBezTo>
                      <a:lnTo>
                        <a:pt x="143889" y="27881"/>
                      </a:lnTo>
                      <a:cubicBezTo>
                        <a:pt x="142766" y="30130"/>
                        <a:pt x="139841" y="30805"/>
                        <a:pt x="137819" y="29679"/>
                      </a:cubicBezTo>
                      <a:cubicBezTo>
                        <a:pt x="135797" y="28556"/>
                        <a:pt x="134895" y="26082"/>
                        <a:pt x="135797" y="24057"/>
                      </a:cubicBezTo>
                      <a:lnTo>
                        <a:pt x="136021" y="23606"/>
                      </a:lnTo>
                      <a:lnTo>
                        <a:pt x="138945" y="18436"/>
                      </a:lnTo>
                      <a:cubicBezTo>
                        <a:pt x="127702" y="12814"/>
                        <a:pt x="115787" y="9666"/>
                        <a:pt x="103421" y="8994"/>
                      </a:cubicBezTo>
                      <a:lnTo>
                        <a:pt x="103428" y="8994"/>
                      </a:ln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6" name="Freihandform: Form 115">
                  <a:extLst>
                    <a:ext uri="{FF2B5EF4-FFF2-40B4-BE49-F238E27FC236}">
                      <a16:creationId xmlns:a16="http://schemas.microsoft.com/office/drawing/2014/main" id="{1D4790F1-94DD-8587-4133-4CB3915C3FF0}"/>
                    </a:ext>
                  </a:extLst>
                </p:cNvPr>
                <p:cNvSpPr/>
                <p:nvPr/>
              </p:nvSpPr>
              <p:spPr>
                <a:xfrm>
                  <a:off x="985657" y="4274164"/>
                  <a:ext cx="69947" cy="52297"/>
                </a:xfrm>
                <a:custGeom>
                  <a:avLst/>
                  <a:gdLst>
                    <a:gd name="connsiteX0" fmla="*/ 64705 w 69947"/>
                    <a:gd name="connsiteY0" fmla="*/ 52297 h 52297"/>
                    <a:gd name="connsiteX1" fmla="*/ 59777 w 69947"/>
                    <a:gd name="connsiteY1" fmla="*/ 48830 h 52297"/>
                    <a:gd name="connsiteX2" fmla="*/ 5240 w 69947"/>
                    <a:gd name="connsiteY2" fmla="*/ 10480 h 52297"/>
                    <a:gd name="connsiteX3" fmla="*/ 0 w 69947"/>
                    <a:gd name="connsiteY3" fmla="*/ 5240 h 52297"/>
                    <a:gd name="connsiteX4" fmla="*/ 5240 w 69947"/>
                    <a:gd name="connsiteY4" fmla="*/ 0 h 52297"/>
                    <a:gd name="connsiteX5" fmla="*/ 69635 w 69947"/>
                    <a:gd name="connsiteY5" fmla="*/ 45278 h 52297"/>
                    <a:gd name="connsiteX6" fmla="*/ 66481 w 69947"/>
                    <a:gd name="connsiteY6" fmla="*/ 51982 h 52297"/>
                    <a:gd name="connsiteX7" fmla="*/ 64708 w 69947"/>
                    <a:gd name="connsiteY7" fmla="*/ 52294 h 522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9947" h="52297">
                      <a:moveTo>
                        <a:pt x="64705" y="52297"/>
                      </a:moveTo>
                      <a:cubicBezTo>
                        <a:pt x="62556" y="52297"/>
                        <a:pt x="60547" y="50969"/>
                        <a:pt x="59777" y="48830"/>
                      </a:cubicBezTo>
                      <a:cubicBezTo>
                        <a:pt x="51515" y="25893"/>
                        <a:pt x="29600" y="10480"/>
                        <a:pt x="5240" y="10480"/>
                      </a:cubicBezTo>
                      <a:cubicBezTo>
                        <a:pt x="2347" y="10480"/>
                        <a:pt x="0" y="8133"/>
                        <a:pt x="0" y="5240"/>
                      </a:cubicBezTo>
                      <a:cubicBezTo>
                        <a:pt x="0" y="2347"/>
                        <a:pt x="2347" y="0"/>
                        <a:pt x="5240" y="0"/>
                      </a:cubicBezTo>
                      <a:cubicBezTo>
                        <a:pt x="34004" y="0"/>
                        <a:pt x="59881" y="18196"/>
                        <a:pt x="69635" y="45278"/>
                      </a:cubicBezTo>
                      <a:cubicBezTo>
                        <a:pt x="70619" y="48001"/>
                        <a:pt x="69203" y="51004"/>
                        <a:pt x="66481" y="51982"/>
                      </a:cubicBezTo>
                      <a:cubicBezTo>
                        <a:pt x="65894" y="52193"/>
                        <a:pt x="65294" y="52294"/>
                        <a:pt x="64708" y="52294"/>
                      </a:cubicBezTo>
                      <a:close/>
                    </a:path>
                  </a:pathLst>
                </a:custGeom>
                <a:solidFill>
                  <a:srgbClr val="EC0016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7" name="Freihandform: Form 116">
                  <a:extLst>
                    <a:ext uri="{FF2B5EF4-FFF2-40B4-BE49-F238E27FC236}">
                      <a16:creationId xmlns:a16="http://schemas.microsoft.com/office/drawing/2014/main" id="{79EE02B1-3E5E-3990-5E39-C89EA90B1EDF}"/>
                    </a:ext>
                  </a:extLst>
                </p:cNvPr>
                <p:cNvSpPr/>
                <p:nvPr/>
              </p:nvSpPr>
              <p:spPr>
                <a:xfrm>
                  <a:off x="985335" y="4317099"/>
                  <a:ext cx="69824" cy="30817"/>
                </a:xfrm>
                <a:custGeom>
                  <a:avLst/>
                  <a:gdLst>
                    <a:gd name="connsiteX0" fmla="*/ 5240 w 69824"/>
                    <a:gd name="connsiteY0" fmla="*/ 30818 h 30817"/>
                    <a:gd name="connsiteX1" fmla="*/ 284 w 69824"/>
                    <a:gd name="connsiteY1" fmla="*/ 27275 h 30817"/>
                    <a:gd name="connsiteX2" fmla="*/ 3543 w 69824"/>
                    <a:gd name="connsiteY2" fmla="*/ 20619 h 30817"/>
                    <a:gd name="connsiteX3" fmla="*/ 62887 w 69824"/>
                    <a:gd name="connsiteY3" fmla="*/ 284 h 30817"/>
                    <a:gd name="connsiteX4" fmla="*/ 69541 w 69824"/>
                    <a:gd name="connsiteY4" fmla="*/ 3543 h 30817"/>
                    <a:gd name="connsiteX5" fmla="*/ 66282 w 69824"/>
                    <a:gd name="connsiteY5" fmla="*/ 10199 h 30817"/>
                    <a:gd name="connsiteX6" fmla="*/ 6940 w 69824"/>
                    <a:gd name="connsiteY6" fmla="*/ 30534 h 30817"/>
                    <a:gd name="connsiteX7" fmla="*/ 5240 w 69824"/>
                    <a:gd name="connsiteY7" fmla="*/ 30818 h 30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9824" h="30817">
                      <a:moveTo>
                        <a:pt x="5240" y="30818"/>
                      </a:moveTo>
                      <a:cubicBezTo>
                        <a:pt x="3063" y="30818"/>
                        <a:pt x="1028" y="29448"/>
                        <a:pt x="284" y="27275"/>
                      </a:cubicBezTo>
                      <a:cubicBezTo>
                        <a:pt x="-653" y="24537"/>
                        <a:pt x="804" y="21559"/>
                        <a:pt x="3543" y="20619"/>
                      </a:cubicBezTo>
                      <a:lnTo>
                        <a:pt x="62887" y="284"/>
                      </a:lnTo>
                      <a:cubicBezTo>
                        <a:pt x="65613" y="-653"/>
                        <a:pt x="68604" y="804"/>
                        <a:pt x="69541" y="3543"/>
                      </a:cubicBezTo>
                      <a:cubicBezTo>
                        <a:pt x="70477" y="6281"/>
                        <a:pt x="69020" y="9259"/>
                        <a:pt x="66282" y="10199"/>
                      </a:cubicBezTo>
                      <a:lnTo>
                        <a:pt x="6940" y="30534"/>
                      </a:lnTo>
                      <a:cubicBezTo>
                        <a:pt x="6376" y="30726"/>
                        <a:pt x="5805" y="30818"/>
                        <a:pt x="5240" y="30818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8" name="Freihandform: Form 117">
                  <a:extLst>
                    <a:ext uri="{FF2B5EF4-FFF2-40B4-BE49-F238E27FC236}">
                      <a16:creationId xmlns:a16="http://schemas.microsoft.com/office/drawing/2014/main" id="{2FFB1907-5F88-ADE9-85C6-E2CCA3BAD19D}"/>
                    </a:ext>
                  </a:extLst>
                </p:cNvPr>
                <p:cNvSpPr/>
                <p:nvPr/>
              </p:nvSpPr>
              <p:spPr>
                <a:xfrm>
                  <a:off x="965420" y="4338694"/>
                  <a:ext cx="30042" cy="45330"/>
                </a:xfrm>
                <a:custGeom>
                  <a:avLst/>
                  <a:gdLst>
                    <a:gd name="connsiteX0" fmla="*/ 5237 w 30042"/>
                    <a:gd name="connsiteY0" fmla="*/ 45330 h 45330"/>
                    <a:gd name="connsiteX1" fmla="*/ 2675 w 30042"/>
                    <a:gd name="connsiteY1" fmla="*/ 44658 h 45330"/>
                    <a:gd name="connsiteX2" fmla="*/ 672 w 30042"/>
                    <a:gd name="connsiteY2" fmla="*/ 37526 h 45330"/>
                    <a:gd name="connsiteX3" fmla="*/ 20234 w 30042"/>
                    <a:gd name="connsiteY3" fmla="*/ 2676 h 45330"/>
                    <a:gd name="connsiteX4" fmla="*/ 27366 w 30042"/>
                    <a:gd name="connsiteY4" fmla="*/ 673 h 45330"/>
                    <a:gd name="connsiteX5" fmla="*/ 29373 w 30042"/>
                    <a:gd name="connsiteY5" fmla="*/ 7806 h 45330"/>
                    <a:gd name="connsiteX6" fmla="*/ 9808 w 30042"/>
                    <a:gd name="connsiteY6" fmla="*/ 42655 h 45330"/>
                    <a:gd name="connsiteX7" fmla="*/ 5233 w 30042"/>
                    <a:gd name="connsiteY7" fmla="*/ 45330 h 45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042" h="45330">
                      <a:moveTo>
                        <a:pt x="5237" y="45330"/>
                      </a:moveTo>
                      <a:cubicBezTo>
                        <a:pt x="4369" y="45330"/>
                        <a:pt x="3486" y="45116"/>
                        <a:pt x="2675" y="44658"/>
                      </a:cubicBezTo>
                      <a:cubicBezTo>
                        <a:pt x="151" y="43242"/>
                        <a:pt x="-745" y="40049"/>
                        <a:pt x="672" y="37526"/>
                      </a:cubicBezTo>
                      <a:lnTo>
                        <a:pt x="20234" y="2676"/>
                      </a:lnTo>
                      <a:cubicBezTo>
                        <a:pt x="21650" y="153"/>
                        <a:pt x="24843" y="-746"/>
                        <a:pt x="27366" y="673"/>
                      </a:cubicBezTo>
                      <a:cubicBezTo>
                        <a:pt x="29890" y="2090"/>
                        <a:pt x="30786" y="5282"/>
                        <a:pt x="29373" y="7806"/>
                      </a:cubicBezTo>
                      <a:lnTo>
                        <a:pt x="9808" y="42655"/>
                      </a:lnTo>
                      <a:cubicBezTo>
                        <a:pt x="8846" y="44368"/>
                        <a:pt x="7066" y="45330"/>
                        <a:pt x="5233" y="45330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230" name="Gruppieren 229">
            <a:extLst>
              <a:ext uri="{FF2B5EF4-FFF2-40B4-BE49-F238E27FC236}">
                <a16:creationId xmlns:a16="http://schemas.microsoft.com/office/drawing/2014/main" id="{484C5D98-621E-0A7D-BB18-718CE8613126}"/>
              </a:ext>
            </a:extLst>
          </p:cNvPr>
          <p:cNvGrpSpPr/>
          <p:nvPr/>
        </p:nvGrpSpPr>
        <p:grpSpPr>
          <a:xfrm>
            <a:off x="551384" y="5589240"/>
            <a:ext cx="10770783" cy="608446"/>
            <a:chOff x="603283" y="5743567"/>
            <a:chExt cx="10770783" cy="608446"/>
          </a:xfrm>
        </p:grpSpPr>
        <p:sp>
          <p:nvSpPr>
            <p:cNvPr id="59" name="Textfeld 58">
              <a:extLst>
                <a:ext uri="{FF2B5EF4-FFF2-40B4-BE49-F238E27FC236}">
                  <a16:creationId xmlns:a16="http://schemas.microsoft.com/office/drawing/2014/main" id="{3942FFC1-4369-78BA-5924-D4D76BE53B34}"/>
                </a:ext>
              </a:extLst>
            </p:cNvPr>
            <p:cNvSpPr txBox="1"/>
            <p:nvPr/>
          </p:nvSpPr>
          <p:spPr>
            <a:xfrm>
              <a:off x="1232784" y="5753388"/>
              <a:ext cx="10141282" cy="59862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de-DE" sz="1600" b="1" dirty="0">
                  <a:effectLst/>
                  <a:latin typeface="DB Neo Office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Das Land Berlin hat die Deutsche Bahn damit beauftragt</a:t>
              </a:r>
              <a:r>
                <a:rPr lang="de-DE" sz="1600" dirty="0">
                  <a:effectLst/>
                  <a:latin typeface="DB Neo Office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, die </a:t>
              </a:r>
              <a:r>
                <a:rPr lang="de-DE" sz="1600" dirty="0">
                  <a:latin typeface="DB Neo Office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S21 Berlin zu</a:t>
              </a:r>
              <a:r>
                <a:rPr lang="de-DE" sz="1600" dirty="0">
                  <a:effectLst/>
                  <a:latin typeface="DB Neo Office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 planen und</a:t>
              </a:r>
              <a:br>
                <a:rPr lang="de-DE" sz="1600" dirty="0">
                  <a:effectLst/>
                  <a:latin typeface="DB Neo Office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de-DE" sz="1600" dirty="0">
                  <a:effectLst/>
                  <a:latin typeface="DB Neo Office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zu bauen. </a:t>
              </a:r>
              <a:r>
                <a:rPr lang="de-DE" sz="1600" dirty="0">
                  <a:latin typeface="DB Neo Office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Sie wird finanziert mit Mitteln des Bundes und des Landes.</a:t>
              </a:r>
              <a:endParaRPr lang="de-DE" sz="1600" dirty="0">
                <a:effectLst/>
                <a:latin typeface="DB Neo Office" pitchFamily="2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119" name="Gruppieren 118">
              <a:extLst>
                <a:ext uri="{FF2B5EF4-FFF2-40B4-BE49-F238E27FC236}">
                  <a16:creationId xmlns:a16="http://schemas.microsoft.com/office/drawing/2014/main" id="{DEE2C8BC-C977-68FA-930C-3FED1FB6672B}"/>
                </a:ext>
              </a:extLst>
            </p:cNvPr>
            <p:cNvGrpSpPr/>
            <p:nvPr/>
          </p:nvGrpSpPr>
          <p:grpSpPr>
            <a:xfrm>
              <a:off x="603283" y="5743567"/>
              <a:ext cx="434876" cy="579835"/>
              <a:chOff x="641480" y="5749351"/>
              <a:chExt cx="221766" cy="302970"/>
            </a:xfrm>
          </p:grpSpPr>
          <p:grpSp>
            <p:nvGrpSpPr>
              <p:cNvPr id="120" name="Grafik 8">
                <a:extLst>
                  <a:ext uri="{FF2B5EF4-FFF2-40B4-BE49-F238E27FC236}">
                    <a16:creationId xmlns:a16="http://schemas.microsoft.com/office/drawing/2014/main" id="{EDEF4DBB-8183-E7F4-C120-BB9B1EFC17D2}"/>
                  </a:ext>
                </a:extLst>
              </p:cNvPr>
              <p:cNvGrpSpPr/>
              <p:nvPr/>
            </p:nvGrpSpPr>
            <p:grpSpPr>
              <a:xfrm>
                <a:off x="641480" y="5749351"/>
                <a:ext cx="221766" cy="302970"/>
                <a:chOff x="904260" y="6921372"/>
                <a:chExt cx="221766" cy="302970"/>
              </a:xfrm>
              <a:solidFill>
                <a:srgbClr val="282D37"/>
              </a:solidFill>
            </p:grpSpPr>
            <p:sp>
              <p:nvSpPr>
                <p:cNvPr id="148" name="Freihandform: Form 147">
                  <a:extLst>
                    <a:ext uri="{FF2B5EF4-FFF2-40B4-BE49-F238E27FC236}">
                      <a16:creationId xmlns:a16="http://schemas.microsoft.com/office/drawing/2014/main" id="{C7C15214-5394-900B-29F7-576C1F042E22}"/>
                    </a:ext>
                  </a:extLst>
                </p:cNvPr>
                <p:cNvSpPr/>
                <p:nvPr/>
              </p:nvSpPr>
              <p:spPr>
                <a:xfrm>
                  <a:off x="904260" y="6921372"/>
                  <a:ext cx="221766" cy="302970"/>
                </a:xfrm>
                <a:custGeom>
                  <a:avLst/>
                  <a:gdLst>
                    <a:gd name="connsiteX0" fmla="*/ 203189 w 221766"/>
                    <a:gd name="connsiteY0" fmla="*/ 302970 h 302970"/>
                    <a:gd name="connsiteX1" fmla="*/ 203189 w 221766"/>
                    <a:gd name="connsiteY1" fmla="*/ 302970 h 302970"/>
                    <a:gd name="connsiteX2" fmla="*/ 18581 w 221766"/>
                    <a:gd name="connsiteY2" fmla="*/ 302970 h 302970"/>
                    <a:gd name="connsiteX3" fmla="*/ 0 w 221766"/>
                    <a:gd name="connsiteY3" fmla="*/ 284389 h 302970"/>
                    <a:gd name="connsiteX4" fmla="*/ 0 w 221766"/>
                    <a:gd name="connsiteY4" fmla="*/ 18581 h 302970"/>
                    <a:gd name="connsiteX5" fmla="*/ 18581 w 221766"/>
                    <a:gd name="connsiteY5" fmla="*/ 0 h 302970"/>
                    <a:gd name="connsiteX6" fmla="*/ 166952 w 221766"/>
                    <a:gd name="connsiteY6" fmla="*/ 0 h 302970"/>
                    <a:gd name="connsiteX7" fmla="*/ 171053 w 221766"/>
                    <a:gd name="connsiteY7" fmla="*/ 1681 h 302970"/>
                    <a:gd name="connsiteX8" fmla="*/ 220032 w 221766"/>
                    <a:gd name="connsiteY8" fmla="*/ 50017 h 302970"/>
                    <a:gd name="connsiteX9" fmla="*/ 221767 w 221766"/>
                    <a:gd name="connsiteY9" fmla="*/ 54171 h 302970"/>
                    <a:gd name="connsiteX10" fmla="*/ 221767 w 221766"/>
                    <a:gd name="connsiteY10" fmla="*/ 284389 h 302970"/>
                    <a:gd name="connsiteX11" fmla="*/ 203186 w 221766"/>
                    <a:gd name="connsiteY11" fmla="*/ 302970 h 302970"/>
                    <a:gd name="connsiteX12" fmla="*/ 18584 w 221766"/>
                    <a:gd name="connsiteY12" fmla="*/ 11672 h 302970"/>
                    <a:gd name="connsiteX13" fmla="*/ 11675 w 221766"/>
                    <a:gd name="connsiteY13" fmla="*/ 18581 h 302970"/>
                    <a:gd name="connsiteX14" fmla="*/ 11675 w 221766"/>
                    <a:gd name="connsiteY14" fmla="*/ 284386 h 302970"/>
                    <a:gd name="connsiteX15" fmla="*/ 18584 w 221766"/>
                    <a:gd name="connsiteY15" fmla="*/ 291295 h 302970"/>
                    <a:gd name="connsiteX16" fmla="*/ 203196 w 221766"/>
                    <a:gd name="connsiteY16" fmla="*/ 291295 h 302970"/>
                    <a:gd name="connsiteX17" fmla="*/ 208076 w 221766"/>
                    <a:gd name="connsiteY17" fmla="*/ 289270 h 302970"/>
                    <a:gd name="connsiteX18" fmla="*/ 210101 w 221766"/>
                    <a:gd name="connsiteY18" fmla="*/ 284386 h 302970"/>
                    <a:gd name="connsiteX19" fmla="*/ 210101 w 221766"/>
                    <a:gd name="connsiteY19" fmla="*/ 56613 h 302970"/>
                    <a:gd name="connsiteX20" fmla="*/ 164561 w 221766"/>
                    <a:gd name="connsiteY20" fmla="*/ 11672 h 302970"/>
                    <a:gd name="connsiteX21" fmla="*/ 18584 w 221766"/>
                    <a:gd name="connsiteY21" fmla="*/ 11672 h 3029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21766" h="302970">
                      <a:moveTo>
                        <a:pt x="203189" y="302970"/>
                      </a:moveTo>
                      <a:lnTo>
                        <a:pt x="203189" y="302970"/>
                      </a:lnTo>
                      <a:cubicBezTo>
                        <a:pt x="203189" y="302970"/>
                        <a:pt x="18581" y="302970"/>
                        <a:pt x="18581" y="302970"/>
                      </a:cubicBezTo>
                      <a:cubicBezTo>
                        <a:pt x="8335" y="302970"/>
                        <a:pt x="0" y="294636"/>
                        <a:pt x="0" y="284389"/>
                      </a:cubicBezTo>
                      <a:lnTo>
                        <a:pt x="0" y="18581"/>
                      </a:lnTo>
                      <a:cubicBezTo>
                        <a:pt x="0" y="8335"/>
                        <a:pt x="8338" y="0"/>
                        <a:pt x="18581" y="0"/>
                      </a:cubicBezTo>
                      <a:lnTo>
                        <a:pt x="166952" y="0"/>
                      </a:lnTo>
                      <a:cubicBezTo>
                        <a:pt x="168485" y="0"/>
                        <a:pt x="169959" y="606"/>
                        <a:pt x="171053" y="1681"/>
                      </a:cubicBezTo>
                      <a:lnTo>
                        <a:pt x="220032" y="50017"/>
                      </a:lnTo>
                      <a:cubicBezTo>
                        <a:pt x="221142" y="51114"/>
                        <a:pt x="221767" y="52610"/>
                        <a:pt x="221767" y="54171"/>
                      </a:cubicBezTo>
                      <a:lnTo>
                        <a:pt x="221767" y="284389"/>
                      </a:lnTo>
                      <a:cubicBezTo>
                        <a:pt x="221767" y="294636"/>
                        <a:pt x="213432" y="302970"/>
                        <a:pt x="203186" y="302970"/>
                      </a:cubicBezTo>
                      <a:close/>
                      <a:moveTo>
                        <a:pt x="18584" y="11672"/>
                      </a:moveTo>
                      <a:cubicBezTo>
                        <a:pt x="14773" y="11672"/>
                        <a:pt x="11675" y="14770"/>
                        <a:pt x="11675" y="18581"/>
                      </a:cubicBezTo>
                      <a:lnTo>
                        <a:pt x="11675" y="284386"/>
                      </a:lnTo>
                      <a:cubicBezTo>
                        <a:pt x="11675" y="288197"/>
                        <a:pt x="14773" y="291295"/>
                        <a:pt x="18584" y="291295"/>
                      </a:cubicBezTo>
                      <a:lnTo>
                        <a:pt x="203196" y="291295"/>
                      </a:lnTo>
                      <a:cubicBezTo>
                        <a:pt x="205038" y="291295"/>
                        <a:pt x="206770" y="290576"/>
                        <a:pt x="208076" y="289270"/>
                      </a:cubicBezTo>
                      <a:cubicBezTo>
                        <a:pt x="209382" y="287964"/>
                        <a:pt x="210101" y="286232"/>
                        <a:pt x="210101" y="284386"/>
                      </a:cubicBezTo>
                      <a:lnTo>
                        <a:pt x="210101" y="56613"/>
                      </a:lnTo>
                      <a:lnTo>
                        <a:pt x="164561" y="11672"/>
                      </a:lnTo>
                      <a:lnTo>
                        <a:pt x="18584" y="11672"/>
                      </a:ln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9" name="Freihandform: Form 148">
                  <a:extLst>
                    <a:ext uri="{FF2B5EF4-FFF2-40B4-BE49-F238E27FC236}">
                      <a16:creationId xmlns:a16="http://schemas.microsoft.com/office/drawing/2014/main" id="{272A0FBC-D561-0FEC-BC6E-694CAE287323}"/>
                    </a:ext>
                  </a:extLst>
                </p:cNvPr>
                <p:cNvSpPr/>
                <p:nvPr/>
              </p:nvSpPr>
              <p:spPr>
                <a:xfrm>
                  <a:off x="1059077" y="6922101"/>
                  <a:ext cx="65666" cy="61423"/>
                </a:xfrm>
                <a:custGeom>
                  <a:avLst/>
                  <a:gdLst>
                    <a:gd name="connsiteX0" fmla="*/ 59827 w 65666"/>
                    <a:gd name="connsiteY0" fmla="*/ 61424 h 61423"/>
                    <a:gd name="connsiteX1" fmla="*/ 5836 w 65666"/>
                    <a:gd name="connsiteY1" fmla="*/ 61424 h 61423"/>
                    <a:gd name="connsiteX2" fmla="*/ 0 w 65666"/>
                    <a:gd name="connsiteY2" fmla="*/ 55588 h 61423"/>
                    <a:gd name="connsiteX3" fmla="*/ 0 w 65666"/>
                    <a:gd name="connsiteY3" fmla="*/ 5836 h 61423"/>
                    <a:gd name="connsiteX4" fmla="*/ 5836 w 65666"/>
                    <a:gd name="connsiteY4" fmla="*/ 0 h 61423"/>
                    <a:gd name="connsiteX5" fmla="*/ 11672 w 65666"/>
                    <a:gd name="connsiteY5" fmla="*/ 5836 h 61423"/>
                    <a:gd name="connsiteX6" fmla="*/ 11672 w 65666"/>
                    <a:gd name="connsiteY6" fmla="*/ 49752 h 61423"/>
                    <a:gd name="connsiteX7" fmla="*/ 59831 w 65666"/>
                    <a:gd name="connsiteY7" fmla="*/ 49752 h 61423"/>
                    <a:gd name="connsiteX8" fmla="*/ 65667 w 65666"/>
                    <a:gd name="connsiteY8" fmla="*/ 55588 h 61423"/>
                    <a:gd name="connsiteX9" fmla="*/ 59831 w 65666"/>
                    <a:gd name="connsiteY9" fmla="*/ 61424 h 614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5666" h="61423">
                      <a:moveTo>
                        <a:pt x="59827" y="61424"/>
                      </a:moveTo>
                      <a:lnTo>
                        <a:pt x="5836" y="61424"/>
                      </a:lnTo>
                      <a:cubicBezTo>
                        <a:pt x="2615" y="61424"/>
                        <a:pt x="0" y="58809"/>
                        <a:pt x="0" y="55588"/>
                      </a:cubicBezTo>
                      <a:lnTo>
                        <a:pt x="0" y="5836"/>
                      </a:lnTo>
                      <a:cubicBezTo>
                        <a:pt x="0" y="2615"/>
                        <a:pt x="2612" y="0"/>
                        <a:pt x="5836" y="0"/>
                      </a:cubicBezTo>
                      <a:cubicBezTo>
                        <a:pt x="9060" y="0"/>
                        <a:pt x="11672" y="2615"/>
                        <a:pt x="11672" y="5836"/>
                      </a:cubicBezTo>
                      <a:lnTo>
                        <a:pt x="11672" y="49752"/>
                      </a:lnTo>
                      <a:lnTo>
                        <a:pt x="59831" y="49752"/>
                      </a:lnTo>
                      <a:cubicBezTo>
                        <a:pt x="63051" y="49752"/>
                        <a:pt x="65667" y="52367"/>
                        <a:pt x="65667" y="55588"/>
                      </a:cubicBezTo>
                      <a:cubicBezTo>
                        <a:pt x="65667" y="58809"/>
                        <a:pt x="63055" y="61424"/>
                        <a:pt x="59831" y="61424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21" name="Freihandform: Form 120">
                <a:extLst>
                  <a:ext uri="{FF2B5EF4-FFF2-40B4-BE49-F238E27FC236}">
                    <a16:creationId xmlns:a16="http://schemas.microsoft.com/office/drawing/2014/main" id="{99734E8E-7DD6-C9E5-13C1-D62DBB70BCEF}"/>
                  </a:ext>
                </a:extLst>
              </p:cNvPr>
              <p:cNvSpPr/>
              <p:nvPr/>
            </p:nvSpPr>
            <p:spPr>
              <a:xfrm>
                <a:off x="690465" y="5880157"/>
                <a:ext cx="123806" cy="11672"/>
              </a:xfrm>
              <a:custGeom>
                <a:avLst/>
                <a:gdLst>
                  <a:gd name="connsiteX0" fmla="*/ 117970 w 123806"/>
                  <a:gd name="connsiteY0" fmla="*/ 11672 h 11672"/>
                  <a:gd name="connsiteX1" fmla="*/ 5836 w 123806"/>
                  <a:gd name="connsiteY1" fmla="*/ 11672 h 11672"/>
                  <a:gd name="connsiteX2" fmla="*/ 0 w 123806"/>
                  <a:gd name="connsiteY2" fmla="*/ 5836 h 11672"/>
                  <a:gd name="connsiteX3" fmla="*/ 5836 w 123806"/>
                  <a:gd name="connsiteY3" fmla="*/ 0 h 11672"/>
                  <a:gd name="connsiteX4" fmla="*/ 117970 w 123806"/>
                  <a:gd name="connsiteY4" fmla="*/ 0 h 11672"/>
                  <a:gd name="connsiteX5" fmla="*/ 123806 w 123806"/>
                  <a:gd name="connsiteY5" fmla="*/ 5836 h 11672"/>
                  <a:gd name="connsiteX6" fmla="*/ 117970 w 123806"/>
                  <a:gd name="connsiteY6" fmla="*/ 11672 h 11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06" h="11672">
                    <a:moveTo>
                      <a:pt x="117970" y="11672"/>
                    </a:moveTo>
                    <a:lnTo>
                      <a:pt x="5836" y="11672"/>
                    </a:lnTo>
                    <a:cubicBezTo>
                      <a:pt x="2612" y="11672"/>
                      <a:pt x="0" y="9060"/>
                      <a:pt x="0" y="5836"/>
                    </a:cubicBezTo>
                    <a:cubicBezTo>
                      <a:pt x="0" y="2612"/>
                      <a:pt x="2612" y="0"/>
                      <a:pt x="5836" y="0"/>
                    </a:cubicBezTo>
                    <a:lnTo>
                      <a:pt x="117970" y="0"/>
                    </a:lnTo>
                    <a:cubicBezTo>
                      <a:pt x="121191" y="0"/>
                      <a:pt x="123806" y="2612"/>
                      <a:pt x="123806" y="5836"/>
                    </a:cubicBezTo>
                    <a:cubicBezTo>
                      <a:pt x="123806" y="9060"/>
                      <a:pt x="121194" y="11672"/>
                      <a:pt x="117970" y="11672"/>
                    </a:cubicBezTo>
                    <a:close/>
                  </a:path>
                </a:pathLst>
              </a:custGeom>
              <a:solidFill>
                <a:srgbClr val="282D3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2" name="Freihandform: Form 121">
                <a:extLst>
                  <a:ext uri="{FF2B5EF4-FFF2-40B4-BE49-F238E27FC236}">
                    <a16:creationId xmlns:a16="http://schemas.microsoft.com/office/drawing/2014/main" id="{E8B2E312-842A-48FA-35F8-DBDCD9DEB393}"/>
                  </a:ext>
                </a:extLst>
              </p:cNvPr>
              <p:cNvSpPr/>
              <p:nvPr/>
            </p:nvSpPr>
            <p:spPr>
              <a:xfrm>
                <a:off x="690465" y="5910211"/>
                <a:ext cx="123806" cy="11672"/>
              </a:xfrm>
              <a:custGeom>
                <a:avLst/>
                <a:gdLst>
                  <a:gd name="connsiteX0" fmla="*/ 117970 w 123806"/>
                  <a:gd name="connsiteY0" fmla="*/ 11672 h 11672"/>
                  <a:gd name="connsiteX1" fmla="*/ 5836 w 123806"/>
                  <a:gd name="connsiteY1" fmla="*/ 11672 h 11672"/>
                  <a:gd name="connsiteX2" fmla="*/ 0 w 123806"/>
                  <a:gd name="connsiteY2" fmla="*/ 5836 h 11672"/>
                  <a:gd name="connsiteX3" fmla="*/ 5836 w 123806"/>
                  <a:gd name="connsiteY3" fmla="*/ 0 h 11672"/>
                  <a:gd name="connsiteX4" fmla="*/ 117970 w 123806"/>
                  <a:gd name="connsiteY4" fmla="*/ 0 h 11672"/>
                  <a:gd name="connsiteX5" fmla="*/ 123806 w 123806"/>
                  <a:gd name="connsiteY5" fmla="*/ 5836 h 11672"/>
                  <a:gd name="connsiteX6" fmla="*/ 117970 w 123806"/>
                  <a:gd name="connsiteY6" fmla="*/ 11672 h 11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06" h="11672">
                    <a:moveTo>
                      <a:pt x="117970" y="11672"/>
                    </a:moveTo>
                    <a:lnTo>
                      <a:pt x="5836" y="11672"/>
                    </a:lnTo>
                    <a:cubicBezTo>
                      <a:pt x="2612" y="11672"/>
                      <a:pt x="0" y="9060"/>
                      <a:pt x="0" y="5836"/>
                    </a:cubicBezTo>
                    <a:cubicBezTo>
                      <a:pt x="0" y="2612"/>
                      <a:pt x="2612" y="0"/>
                      <a:pt x="5836" y="0"/>
                    </a:cubicBezTo>
                    <a:lnTo>
                      <a:pt x="117970" y="0"/>
                    </a:lnTo>
                    <a:cubicBezTo>
                      <a:pt x="121191" y="0"/>
                      <a:pt x="123806" y="2612"/>
                      <a:pt x="123806" y="5836"/>
                    </a:cubicBezTo>
                    <a:cubicBezTo>
                      <a:pt x="123806" y="9060"/>
                      <a:pt x="121194" y="11672"/>
                      <a:pt x="117970" y="11672"/>
                    </a:cubicBezTo>
                    <a:close/>
                  </a:path>
                </a:pathLst>
              </a:custGeom>
              <a:solidFill>
                <a:srgbClr val="282D3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3" name="Freihandform: Form 122">
                <a:extLst>
                  <a:ext uri="{FF2B5EF4-FFF2-40B4-BE49-F238E27FC236}">
                    <a16:creationId xmlns:a16="http://schemas.microsoft.com/office/drawing/2014/main" id="{C0E36596-61DF-042C-91E1-4C3BA10016BC}"/>
                  </a:ext>
                </a:extLst>
              </p:cNvPr>
              <p:cNvSpPr/>
              <p:nvPr/>
            </p:nvSpPr>
            <p:spPr>
              <a:xfrm>
                <a:off x="690465" y="5939351"/>
                <a:ext cx="123806" cy="11672"/>
              </a:xfrm>
              <a:custGeom>
                <a:avLst/>
                <a:gdLst>
                  <a:gd name="connsiteX0" fmla="*/ 117970 w 123806"/>
                  <a:gd name="connsiteY0" fmla="*/ 11672 h 11672"/>
                  <a:gd name="connsiteX1" fmla="*/ 5836 w 123806"/>
                  <a:gd name="connsiteY1" fmla="*/ 11672 h 11672"/>
                  <a:gd name="connsiteX2" fmla="*/ 0 w 123806"/>
                  <a:gd name="connsiteY2" fmla="*/ 5836 h 11672"/>
                  <a:gd name="connsiteX3" fmla="*/ 5836 w 123806"/>
                  <a:gd name="connsiteY3" fmla="*/ 0 h 11672"/>
                  <a:gd name="connsiteX4" fmla="*/ 117970 w 123806"/>
                  <a:gd name="connsiteY4" fmla="*/ 0 h 11672"/>
                  <a:gd name="connsiteX5" fmla="*/ 123806 w 123806"/>
                  <a:gd name="connsiteY5" fmla="*/ 5836 h 11672"/>
                  <a:gd name="connsiteX6" fmla="*/ 117970 w 123806"/>
                  <a:gd name="connsiteY6" fmla="*/ 11672 h 11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06" h="11672">
                    <a:moveTo>
                      <a:pt x="117970" y="11672"/>
                    </a:moveTo>
                    <a:lnTo>
                      <a:pt x="5836" y="11672"/>
                    </a:lnTo>
                    <a:cubicBezTo>
                      <a:pt x="2612" y="11672"/>
                      <a:pt x="0" y="9060"/>
                      <a:pt x="0" y="5836"/>
                    </a:cubicBezTo>
                    <a:cubicBezTo>
                      <a:pt x="0" y="2612"/>
                      <a:pt x="2612" y="0"/>
                      <a:pt x="5836" y="0"/>
                    </a:cubicBezTo>
                    <a:lnTo>
                      <a:pt x="117970" y="0"/>
                    </a:lnTo>
                    <a:cubicBezTo>
                      <a:pt x="121191" y="0"/>
                      <a:pt x="123806" y="2612"/>
                      <a:pt x="123806" y="5836"/>
                    </a:cubicBezTo>
                    <a:cubicBezTo>
                      <a:pt x="123806" y="9060"/>
                      <a:pt x="121194" y="11672"/>
                      <a:pt x="117970" y="11672"/>
                    </a:cubicBezTo>
                    <a:close/>
                  </a:path>
                </a:pathLst>
              </a:custGeom>
              <a:solidFill>
                <a:srgbClr val="282D3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4" name="Freihandform: Form 123">
                <a:extLst>
                  <a:ext uri="{FF2B5EF4-FFF2-40B4-BE49-F238E27FC236}">
                    <a16:creationId xmlns:a16="http://schemas.microsoft.com/office/drawing/2014/main" id="{CFE952F3-9CC3-C5D3-1ED3-420A76A6248A}"/>
                  </a:ext>
                </a:extLst>
              </p:cNvPr>
              <p:cNvSpPr/>
              <p:nvPr/>
            </p:nvSpPr>
            <p:spPr>
              <a:xfrm>
                <a:off x="705499" y="5897676"/>
                <a:ext cx="117550" cy="107243"/>
              </a:xfrm>
              <a:custGeom>
                <a:avLst/>
                <a:gdLst>
                  <a:gd name="connsiteX0" fmla="*/ 46220 w 117550"/>
                  <a:gd name="connsiteY0" fmla="*/ 107244 h 107243"/>
                  <a:gd name="connsiteX1" fmla="*/ 42798 w 117550"/>
                  <a:gd name="connsiteY1" fmla="*/ 106133 h 107243"/>
                  <a:gd name="connsiteX2" fmla="*/ 2412 w 117550"/>
                  <a:gd name="connsiteY2" fmla="*/ 76874 h 107243"/>
                  <a:gd name="connsiteX3" fmla="*/ 1109 w 117550"/>
                  <a:gd name="connsiteY3" fmla="*/ 68726 h 107243"/>
                  <a:gd name="connsiteX4" fmla="*/ 9258 w 117550"/>
                  <a:gd name="connsiteY4" fmla="*/ 67423 h 107243"/>
                  <a:gd name="connsiteX5" fmla="*/ 44791 w 117550"/>
                  <a:gd name="connsiteY5" fmla="*/ 93168 h 107243"/>
                  <a:gd name="connsiteX6" fmla="*/ 106900 w 117550"/>
                  <a:gd name="connsiteY6" fmla="*/ 2539 h 107243"/>
                  <a:gd name="connsiteX7" fmla="*/ 115013 w 117550"/>
                  <a:gd name="connsiteY7" fmla="*/ 1024 h 107243"/>
                  <a:gd name="connsiteX8" fmla="*/ 116527 w 117550"/>
                  <a:gd name="connsiteY8" fmla="*/ 9138 h 107243"/>
                  <a:gd name="connsiteX9" fmla="*/ 51028 w 117550"/>
                  <a:gd name="connsiteY9" fmla="*/ 104711 h 107243"/>
                  <a:gd name="connsiteX10" fmla="*/ 47211 w 117550"/>
                  <a:gd name="connsiteY10" fmla="*/ 107162 h 107243"/>
                  <a:gd name="connsiteX11" fmla="*/ 46214 w 117550"/>
                  <a:gd name="connsiteY11" fmla="*/ 107244 h 107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7550" h="107243">
                    <a:moveTo>
                      <a:pt x="46220" y="107244"/>
                    </a:moveTo>
                    <a:cubicBezTo>
                      <a:pt x="44999" y="107244"/>
                      <a:pt x="43798" y="106862"/>
                      <a:pt x="42798" y="106133"/>
                    </a:cubicBezTo>
                    <a:lnTo>
                      <a:pt x="2412" y="76874"/>
                    </a:lnTo>
                    <a:cubicBezTo>
                      <a:pt x="-197" y="74981"/>
                      <a:pt x="-780" y="71335"/>
                      <a:pt x="1109" y="68726"/>
                    </a:cubicBezTo>
                    <a:cubicBezTo>
                      <a:pt x="3002" y="66111"/>
                      <a:pt x="6652" y="65536"/>
                      <a:pt x="9258" y="67423"/>
                    </a:cubicBezTo>
                    <a:lnTo>
                      <a:pt x="44791" y="93168"/>
                    </a:lnTo>
                    <a:lnTo>
                      <a:pt x="106900" y="2539"/>
                    </a:lnTo>
                    <a:cubicBezTo>
                      <a:pt x="108720" y="-124"/>
                      <a:pt x="112354" y="-799"/>
                      <a:pt x="115013" y="1024"/>
                    </a:cubicBezTo>
                    <a:cubicBezTo>
                      <a:pt x="117673" y="2848"/>
                      <a:pt x="118351" y="6479"/>
                      <a:pt x="116527" y="9138"/>
                    </a:cubicBezTo>
                    <a:lnTo>
                      <a:pt x="51028" y="104711"/>
                    </a:lnTo>
                    <a:cubicBezTo>
                      <a:pt x="50138" y="106007"/>
                      <a:pt x="48763" y="106890"/>
                      <a:pt x="47211" y="107162"/>
                    </a:cubicBezTo>
                    <a:cubicBezTo>
                      <a:pt x="46880" y="107218"/>
                      <a:pt x="46545" y="107244"/>
                      <a:pt x="46214" y="107244"/>
                    </a:cubicBezTo>
                    <a:close/>
                  </a:path>
                </a:pathLst>
              </a:custGeom>
              <a:solidFill>
                <a:srgbClr val="EC001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25" name="Grafik 8">
                <a:extLst>
                  <a:ext uri="{FF2B5EF4-FFF2-40B4-BE49-F238E27FC236}">
                    <a16:creationId xmlns:a16="http://schemas.microsoft.com/office/drawing/2014/main" id="{1FF2B5DB-F808-8205-7C3F-8F836475D441}"/>
                  </a:ext>
                </a:extLst>
              </p:cNvPr>
              <p:cNvGrpSpPr/>
              <p:nvPr/>
            </p:nvGrpSpPr>
            <p:grpSpPr>
              <a:xfrm>
                <a:off x="713294" y="5766813"/>
                <a:ext cx="66421" cy="95602"/>
                <a:chOff x="976074" y="6962620"/>
                <a:chExt cx="66421" cy="95602"/>
              </a:xfrm>
              <a:solidFill>
                <a:srgbClr val="282D37"/>
              </a:solidFill>
            </p:grpSpPr>
            <p:sp>
              <p:nvSpPr>
                <p:cNvPr id="126" name="Freihandform: Form 125">
                  <a:extLst>
                    <a:ext uri="{FF2B5EF4-FFF2-40B4-BE49-F238E27FC236}">
                      <a16:creationId xmlns:a16="http://schemas.microsoft.com/office/drawing/2014/main" id="{26BAA05F-B5CF-FBF9-B4CF-5EA200142858}"/>
                    </a:ext>
                  </a:extLst>
                </p:cNvPr>
                <p:cNvSpPr/>
                <p:nvPr/>
              </p:nvSpPr>
              <p:spPr>
                <a:xfrm>
                  <a:off x="1015859" y="6967507"/>
                  <a:ext cx="8363" cy="5941"/>
                </a:xfrm>
                <a:custGeom>
                  <a:avLst/>
                  <a:gdLst>
                    <a:gd name="connsiteX0" fmla="*/ 6889 w 8363"/>
                    <a:gd name="connsiteY0" fmla="*/ 5941 h 5941"/>
                    <a:gd name="connsiteX1" fmla="*/ 5678 w 8363"/>
                    <a:gd name="connsiteY1" fmla="*/ 5307 h 5941"/>
                    <a:gd name="connsiteX2" fmla="*/ 4148 w 8363"/>
                    <a:gd name="connsiteY2" fmla="*/ 3105 h 5941"/>
                    <a:gd name="connsiteX3" fmla="*/ 3848 w 8363"/>
                    <a:gd name="connsiteY3" fmla="*/ 2951 h 5941"/>
                    <a:gd name="connsiteX4" fmla="*/ 3570 w 8363"/>
                    <a:gd name="connsiteY4" fmla="*/ 3083 h 5941"/>
                    <a:gd name="connsiteX5" fmla="*/ 2614 w 8363"/>
                    <a:gd name="connsiteY5" fmla="*/ 4247 h 5941"/>
                    <a:gd name="connsiteX6" fmla="*/ 539 w 8363"/>
                    <a:gd name="connsiteY6" fmla="*/ 4449 h 5941"/>
                    <a:gd name="connsiteX7" fmla="*/ 337 w 8363"/>
                    <a:gd name="connsiteY7" fmla="*/ 2373 h 5941"/>
                    <a:gd name="connsiteX8" fmla="*/ 1290 w 8363"/>
                    <a:gd name="connsiteY8" fmla="*/ 1212 h 5941"/>
                    <a:gd name="connsiteX9" fmla="*/ 3980 w 8363"/>
                    <a:gd name="connsiteY9" fmla="*/ 4 h 5941"/>
                    <a:gd name="connsiteX10" fmla="*/ 6574 w 8363"/>
                    <a:gd name="connsiteY10" fmla="*/ 1424 h 5941"/>
                    <a:gd name="connsiteX11" fmla="*/ 8100 w 8363"/>
                    <a:gd name="connsiteY11" fmla="*/ 3626 h 5941"/>
                    <a:gd name="connsiteX12" fmla="*/ 7731 w 8363"/>
                    <a:gd name="connsiteY12" fmla="*/ 5679 h 5941"/>
                    <a:gd name="connsiteX13" fmla="*/ 6889 w 8363"/>
                    <a:gd name="connsiteY13" fmla="*/ 5941 h 5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8363" h="5941">
                      <a:moveTo>
                        <a:pt x="6889" y="5941"/>
                      </a:moveTo>
                      <a:cubicBezTo>
                        <a:pt x="6425" y="5941"/>
                        <a:pt x="5965" y="5720"/>
                        <a:pt x="5678" y="5307"/>
                      </a:cubicBezTo>
                      <a:lnTo>
                        <a:pt x="4148" y="3105"/>
                      </a:lnTo>
                      <a:cubicBezTo>
                        <a:pt x="4059" y="2976"/>
                        <a:pt x="3939" y="2925"/>
                        <a:pt x="3848" y="2951"/>
                      </a:cubicBezTo>
                      <a:cubicBezTo>
                        <a:pt x="3769" y="2951"/>
                        <a:pt x="3659" y="2976"/>
                        <a:pt x="3570" y="3083"/>
                      </a:cubicBezTo>
                      <a:lnTo>
                        <a:pt x="2614" y="4247"/>
                      </a:lnTo>
                      <a:cubicBezTo>
                        <a:pt x="2100" y="4875"/>
                        <a:pt x="1170" y="4970"/>
                        <a:pt x="539" y="4449"/>
                      </a:cubicBezTo>
                      <a:cubicBezTo>
                        <a:pt x="-89" y="3932"/>
                        <a:pt x="-184" y="3004"/>
                        <a:pt x="337" y="2373"/>
                      </a:cubicBezTo>
                      <a:lnTo>
                        <a:pt x="1290" y="1212"/>
                      </a:lnTo>
                      <a:cubicBezTo>
                        <a:pt x="1949" y="405"/>
                        <a:pt x="2889" y="-49"/>
                        <a:pt x="3980" y="4"/>
                      </a:cubicBezTo>
                      <a:cubicBezTo>
                        <a:pt x="5031" y="45"/>
                        <a:pt x="5971" y="563"/>
                        <a:pt x="6574" y="1424"/>
                      </a:cubicBezTo>
                      <a:lnTo>
                        <a:pt x="8100" y="3626"/>
                      </a:lnTo>
                      <a:cubicBezTo>
                        <a:pt x="8564" y="4295"/>
                        <a:pt x="8400" y="5213"/>
                        <a:pt x="7731" y="5679"/>
                      </a:cubicBezTo>
                      <a:cubicBezTo>
                        <a:pt x="7476" y="5856"/>
                        <a:pt x="7182" y="5941"/>
                        <a:pt x="6889" y="5941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Freihandform: Form 126">
                  <a:extLst>
                    <a:ext uri="{FF2B5EF4-FFF2-40B4-BE49-F238E27FC236}">
                      <a16:creationId xmlns:a16="http://schemas.microsoft.com/office/drawing/2014/main" id="{7F80397B-2B10-E145-A93A-62499229F5F6}"/>
                    </a:ext>
                  </a:extLst>
                </p:cNvPr>
                <p:cNvSpPr/>
                <p:nvPr/>
              </p:nvSpPr>
              <p:spPr>
                <a:xfrm>
                  <a:off x="1001571" y="6967835"/>
                  <a:ext cx="11517" cy="9383"/>
                </a:xfrm>
                <a:custGeom>
                  <a:avLst/>
                  <a:gdLst>
                    <a:gd name="connsiteX0" fmla="*/ 10044 w 11517"/>
                    <a:gd name="connsiteY0" fmla="*/ 9383 h 9383"/>
                    <a:gd name="connsiteX1" fmla="*/ 9688 w 11517"/>
                    <a:gd name="connsiteY1" fmla="*/ 9339 h 9383"/>
                    <a:gd name="connsiteX2" fmla="*/ 3511 w 11517"/>
                    <a:gd name="connsiteY2" fmla="*/ 7809 h 9383"/>
                    <a:gd name="connsiteX3" fmla="*/ 280 w 11517"/>
                    <a:gd name="connsiteY3" fmla="*/ 4907 h 9383"/>
                    <a:gd name="connsiteX4" fmla="*/ 880 w 11517"/>
                    <a:gd name="connsiteY4" fmla="*/ 607 h 9383"/>
                    <a:gd name="connsiteX5" fmla="*/ 2940 w 11517"/>
                    <a:gd name="connsiteY5" fmla="*/ 279 h 9383"/>
                    <a:gd name="connsiteX6" fmla="*/ 3268 w 11517"/>
                    <a:gd name="connsiteY6" fmla="*/ 2339 h 9383"/>
                    <a:gd name="connsiteX7" fmla="*/ 3050 w 11517"/>
                    <a:gd name="connsiteY7" fmla="*/ 3894 h 9383"/>
                    <a:gd name="connsiteX8" fmla="*/ 4221 w 11517"/>
                    <a:gd name="connsiteY8" fmla="*/ 4945 h 9383"/>
                    <a:gd name="connsiteX9" fmla="*/ 10397 w 11517"/>
                    <a:gd name="connsiteY9" fmla="*/ 6475 h 9383"/>
                    <a:gd name="connsiteX10" fmla="*/ 11473 w 11517"/>
                    <a:gd name="connsiteY10" fmla="*/ 8260 h 9383"/>
                    <a:gd name="connsiteX11" fmla="*/ 10044 w 11517"/>
                    <a:gd name="connsiteY11" fmla="*/ 9380 h 9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1517" h="9383">
                      <a:moveTo>
                        <a:pt x="10044" y="9383"/>
                      </a:moveTo>
                      <a:cubicBezTo>
                        <a:pt x="9924" y="9383"/>
                        <a:pt x="9807" y="9370"/>
                        <a:pt x="9688" y="9339"/>
                      </a:cubicBezTo>
                      <a:lnTo>
                        <a:pt x="3511" y="7809"/>
                      </a:lnTo>
                      <a:cubicBezTo>
                        <a:pt x="2016" y="7440"/>
                        <a:pt x="807" y="6355"/>
                        <a:pt x="280" y="4907"/>
                      </a:cubicBezTo>
                      <a:cubicBezTo>
                        <a:pt x="-246" y="3462"/>
                        <a:pt x="-22" y="1853"/>
                        <a:pt x="880" y="607"/>
                      </a:cubicBezTo>
                      <a:cubicBezTo>
                        <a:pt x="1359" y="-52"/>
                        <a:pt x="2280" y="-194"/>
                        <a:pt x="2940" y="279"/>
                      </a:cubicBezTo>
                      <a:cubicBezTo>
                        <a:pt x="3599" y="758"/>
                        <a:pt x="3744" y="1679"/>
                        <a:pt x="3268" y="2339"/>
                      </a:cubicBezTo>
                      <a:cubicBezTo>
                        <a:pt x="2937" y="2796"/>
                        <a:pt x="2858" y="3364"/>
                        <a:pt x="3050" y="3894"/>
                      </a:cubicBezTo>
                      <a:cubicBezTo>
                        <a:pt x="3243" y="4424"/>
                        <a:pt x="3669" y="4809"/>
                        <a:pt x="4221" y="4945"/>
                      </a:cubicBezTo>
                      <a:lnTo>
                        <a:pt x="10397" y="6475"/>
                      </a:lnTo>
                      <a:cubicBezTo>
                        <a:pt x="11189" y="6670"/>
                        <a:pt x="11672" y="7468"/>
                        <a:pt x="11473" y="8260"/>
                      </a:cubicBezTo>
                      <a:cubicBezTo>
                        <a:pt x="11306" y="8932"/>
                        <a:pt x="10703" y="9380"/>
                        <a:pt x="10044" y="9380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8" name="Freihandform: Form 127">
                  <a:extLst>
                    <a:ext uri="{FF2B5EF4-FFF2-40B4-BE49-F238E27FC236}">
                      <a16:creationId xmlns:a16="http://schemas.microsoft.com/office/drawing/2014/main" id="{EC89D2E6-E5F0-887F-9D4B-D8C973F1A192}"/>
                    </a:ext>
                  </a:extLst>
                </p:cNvPr>
                <p:cNvSpPr/>
                <p:nvPr/>
              </p:nvSpPr>
              <p:spPr>
                <a:xfrm>
                  <a:off x="1008992" y="7013074"/>
                  <a:ext cx="7542" cy="11325"/>
                </a:xfrm>
                <a:custGeom>
                  <a:avLst/>
                  <a:gdLst>
                    <a:gd name="connsiteX0" fmla="*/ 6068 w 7542"/>
                    <a:gd name="connsiteY0" fmla="*/ 11322 h 11325"/>
                    <a:gd name="connsiteX1" fmla="*/ 4771 w 7542"/>
                    <a:gd name="connsiteY1" fmla="*/ 10555 h 11325"/>
                    <a:gd name="connsiteX2" fmla="*/ 181 w 7542"/>
                    <a:gd name="connsiteY2" fmla="*/ 2186 h 11325"/>
                    <a:gd name="connsiteX3" fmla="*/ 768 w 7542"/>
                    <a:gd name="connsiteY3" fmla="*/ 183 h 11325"/>
                    <a:gd name="connsiteX4" fmla="*/ 2771 w 7542"/>
                    <a:gd name="connsiteY4" fmla="*/ 770 h 11325"/>
                    <a:gd name="connsiteX5" fmla="*/ 7361 w 7542"/>
                    <a:gd name="connsiteY5" fmla="*/ 9139 h 11325"/>
                    <a:gd name="connsiteX6" fmla="*/ 6775 w 7542"/>
                    <a:gd name="connsiteY6" fmla="*/ 11142 h 11325"/>
                    <a:gd name="connsiteX7" fmla="*/ 6068 w 7542"/>
                    <a:gd name="connsiteY7" fmla="*/ 11325 h 113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542" h="11325">
                      <a:moveTo>
                        <a:pt x="6068" y="11322"/>
                      </a:moveTo>
                      <a:cubicBezTo>
                        <a:pt x="5544" y="11322"/>
                        <a:pt x="5043" y="11044"/>
                        <a:pt x="4771" y="10555"/>
                      </a:cubicBezTo>
                      <a:lnTo>
                        <a:pt x="181" y="2186"/>
                      </a:lnTo>
                      <a:cubicBezTo>
                        <a:pt x="-210" y="1473"/>
                        <a:pt x="52" y="577"/>
                        <a:pt x="768" y="183"/>
                      </a:cubicBezTo>
                      <a:cubicBezTo>
                        <a:pt x="1484" y="-211"/>
                        <a:pt x="2377" y="54"/>
                        <a:pt x="2771" y="770"/>
                      </a:cubicBezTo>
                      <a:lnTo>
                        <a:pt x="7361" y="9139"/>
                      </a:lnTo>
                      <a:cubicBezTo>
                        <a:pt x="7753" y="9852"/>
                        <a:pt x="7491" y="10748"/>
                        <a:pt x="6775" y="11142"/>
                      </a:cubicBezTo>
                      <a:cubicBezTo>
                        <a:pt x="6551" y="11265"/>
                        <a:pt x="6308" y="11325"/>
                        <a:pt x="6068" y="11325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9" name="Freihandform: Form 128">
                  <a:extLst>
                    <a:ext uri="{FF2B5EF4-FFF2-40B4-BE49-F238E27FC236}">
                      <a16:creationId xmlns:a16="http://schemas.microsoft.com/office/drawing/2014/main" id="{B7819C1B-AB7C-5EBE-C35E-5852F155E5DA}"/>
                    </a:ext>
                  </a:extLst>
                </p:cNvPr>
                <p:cNvSpPr/>
                <p:nvPr/>
              </p:nvSpPr>
              <p:spPr>
                <a:xfrm>
                  <a:off x="1004827" y="6962620"/>
                  <a:ext cx="25360" cy="43014"/>
                </a:xfrm>
                <a:custGeom>
                  <a:avLst/>
                  <a:gdLst>
                    <a:gd name="connsiteX0" fmla="*/ 1593 w 25360"/>
                    <a:gd name="connsiteY0" fmla="*/ 43015 h 43014"/>
                    <a:gd name="connsiteX1" fmla="*/ 132 w 25360"/>
                    <a:gd name="connsiteY1" fmla="*/ 41715 h 43014"/>
                    <a:gd name="connsiteX2" fmla="*/ 7975 w 25360"/>
                    <a:gd name="connsiteY2" fmla="*/ 24753 h 43014"/>
                    <a:gd name="connsiteX3" fmla="*/ 10593 w 25360"/>
                    <a:gd name="connsiteY3" fmla="*/ 23021 h 43014"/>
                    <a:gd name="connsiteX4" fmla="*/ 11025 w 25360"/>
                    <a:gd name="connsiteY4" fmla="*/ 22276 h 43014"/>
                    <a:gd name="connsiteX5" fmla="*/ 10372 w 25360"/>
                    <a:gd name="connsiteY5" fmla="*/ 21557 h 43014"/>
                    <a:gd name="connsiteX6" fmla="*/ 9678 w 25360"/>
                    <a:gd name="connsiteY6" fmla="*/ 21450 h 43014"/>
                    <a:gd name="connsiteX7" fmla="*/ 3697 w 25360"/>
                    <a:gd name="connsiteY7" fmla="*/ 15519 h 43014"/>
                    <a:gd name="connsiteX8" fmla="*/ 4107 w 25360"/>
                    <a:gd name="connsiteY8" fmla="*/ 14238 h 43014"/>
                    <a:gd name="connsiteX9" fmla="*/ 5385 w 25360"/>
                    <a:gd name="connsiteY9" fmla="*/ 13822 h 43014"/>
                    <a:gd name="connsiteX10" fmla="*/ 12429 w 25360"/>
                    <a:gd name="connsiteY10" fmla="*/ 14948 h 43014"/>
                    <a:gd name="connsiteX11" fmla="*/ 10369 w 25360"/>
                    <a:gd name="connsiteY11" fmla="*/ 12850 h 43014"/>
                    <a:gd name="connsiteX12" fmla="*/ 6025 w 25360"/>
                    <a:gd name="connsiteY12" fmla="*/ 11816 h 43014"/>
                    <a:gd name="connsiteX13" fmla="*/ 1180 w 25360"/>
                    <a:gd name="connsiteY13" fmla="*/ 5683 h 43014"/>
                    <a:gd name="connsiteX14" fmla="*/ 1678 w 25360"/>
                    <a:gd name="connsiteY14" fmla="*/ 4447 h 43014"/>
                    <a:gd name="connsiteX15" fmla="*/ 2839 w 25360"/>
                    <a:gd name="connsiteY15" fmla="*/ 3958 h 43014"/>
                    <a:gd name="connsiteX16" fmla="*/ 8795 w 25360"/>
                    <a:gd name="connsiteY16" fmla="*/ 4715 h 43014"/>
                    <a:gd name="connsiteX17" fmla="*/ 9905 w 25360"/>
                    <a:gd name="connsiteY17" fmla="*/ 3554 h 43014"/>
                    <a:gd name="connsiteX18" fmla="*/ 23379 w 25360"/>
                    <a:gd name="connsiteY18" fmla="*/ 1260 h 43014"/>
                    <a:gd name="connsiteX19" fmla="*/ 24723 w 25360"/>
                    <a:gd name="connsiteY19" fmla="*/ 2062 h 43014"/>
                    <a:gd name="connsiteX20" fmla="*/ 25098 w 25360"/>
                    <a:gd name="connsiteY20" fmla="*/ 4112 h 43014"/>
                    <a:gd name="connsiteX21" fmla="*/ 23048 w 25360"/>
                    <a:gd name="connsiteY21" fmla="*/ 4484 h 43014"/>
                    <a:gd name="connsiteX22" fmla="*/ 22044 w 25360"/>
                    <a:gd name="connsiteY22" fmla="*/ 3888 h 43014"/>
                    <a:gd name="connsiteX23" fmla="*/ 12041 w 25360"/>
                    <a:gd name="connsiteY23" fmla="*/ 5592 h 43014"/>
                    <a:gd name="connsiteX24" fmla="*/ 10417 w 25360"/>
                    <a:gd name="connsiteY24" fmla="*/ 7292 h 43014"/>
                    <a:gd name="connsiteX25" fmla="*/ 9164 w 25360"/>
                    <a:gd name="connsiteY25" fmla="*/ 7737 h 43014"/>
                    <a:gd name="connsiteX26" fmla="*/ 4498 w 25360"/>
                    <a:gd name="connsiteY26" fmla="*/ 7144 h 43014"/>
                    <a:gd name="connsiteX27" fmla="*/ 6713 w 25360"/>
                    <a:gd name="connsiteY27" fmla="*/ 8951 h 43014"/>
                    <a:gd name="connsiteX28" fmla="*/ 11054 w 25360"/>
                    <a:gd name="connsiteY28" fmla="*/ 9986 h 43014"/>
                    <a:gd name="connsiteX29" fmla="*/ 15436 w 25360"/>
                    <a:gd name="connsiteY29" fmla="*/ 15857 h 43014"/>
                    <a:gd name="connsiteX30" fmla="*/ 15385 w 25360"/>
                    <a:gd name="connsiteY30" fmla="*/ 16765 h 43014"/>
                    <a:gd name="connsiteX31" fmla="*/ 14839 w 25360"/>
                    <a:gd name="connsiteY31" fmla="*/ 17832 h 43014"/>
                    <a:gd name="connsiteX32" fmla="*/ 13682 w 25360"/>
                    <a:gd name="connsiteY32" fmla="*/ 18138 h 43014"/>
                    <a:gd name="connsiteX33" fmla="*/ 7622 w 25360"/>
                    <a:gd name="connsiteY33" fmla="*/ 17169 h 43014"/>
                    <a:gd name="connsiteX34" fmla="*/ 10133 w 25360"/>
                    <a:gd name="connsiteY34" fmla="*/ 18538 h 43014"/>
                    <a:gd name="connsiteX35" fmla="*/ 10827 w 25360"/>
                    <a:gd name="connsiteY35" fmla="*/ 18646 h 43014"/>
                    <a:gd name="connsiteX36" fmla="*/ 13969 w 25360"/>
                    <a:gd name="connsiteY36" fmla="*/ 22100 h 43014"/>
                    <a:gd name="connsiteX37" fmla="*/ 12158 w 25360"/>
                    <a:gd name="connsiteY37" fmla="*/ 25519 h 43014"/>
                    <a:gd name="connsiteX38" fmla="*/ 9596 w 25360"/>
                    <a:gd name="connsiteY38" fmla="*/ 27213 h 43014"/>
                    <a:gd name="connsiteX39" fmla="*/ 3054 w 25360"/>
                    <a:gd name="connsiteY39" fmla="*/ 41362 h 43014"/>
                    <a:gd name="connsiteX40" fmla="*/ 1767 w 25360"/>
                    <a:gd name="connsiteY40" fmla="*/ 43002 h 43014"/>
                    <a:gd name="connsiteX41" fmla="*/ 1587 w 25360"/>
                    <a:gd name="connsiteY41" fmla="*/ 43015 h 430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25360" h="43014">
                      <a:moveTo>
                        <a:pt x="1593" y="43015"/>
                      </a:moveTo>
                      <a:cubicBezTo>
                        <a:pt x="858" y="43015"/>
                        <a:pt x="221" y="42466"/>
                        <a:pt x="132" y="41715"/>
                      </a:cubicBezTo>
                      <a:cubicBezTo>
                        <a:pt x="-685" y="34993"/>
                        <a:pt x="2322" y="28494"/>
                        <a:pt x="7975" y="24753"/>
                      </a:cubicBezTo>
                      <a:lnTo>
                        <a:pt x="10593" y="23021"/>
                      </a:lnTo>
                      <a:cubicBezTo>
                        <a:pt x="10896" y="22838"/>
                        <a:pt x="11044" y="22560"/>
                        <a:pt x="11025" y="22276"/>
                      </a:cubicBezTo>
                      <a:cubicBezTo>
                        <a:pt x="11003" y="21917"/>
                        <a:pt x="10729" y="21614"/>
                        <a:pt x="10372" y="21557"/>
                      </a:cubicBezTo>
                      <a:lnTo>
                        <a:pt x="9678" y="21450"/>
                      </a:lnTo>
                      <a:cubicBezTo>
                        <a:pt x="6606" y="20970"/>
                        <a:pt x="4205" y="18586"/>
                        <a:pt x="3697" y="15519"/>
                      </a:cubicBezTo>
                      <a:cubicBezTo>
                        <a:pt x="3621" y="15052"/>
                        <a:pt x="3773" y="14576"/>
                        <a:pt x="4107" y="14238"/>
                      </a:cubicBezTo>
                      <a:cubicBezTo>
                        <a:pt x="4442" y="13904"/>
                        <a:pt x="4918" y="13750"/>
                        <a:pt x="5385" y="13822"/>
                      </a:cubicBezTo>
                      <a:lnTo>
                        <a:pt x="12429" y="14948"/>
                      </a:lnTo>
                      <a:cubicBezTo>
                        <a:pt x="12205" y="13933"/>
                        <a:pt x="11423" y="13103"/>
                        <a:pt x="10369" y="12850"/>
                      </a:cubicBezTo>
                      <a:lnTo>
                        <a:pt x="6025" y="11816"/>
                      </a:lnTo>
                      <a:cubicBezTo>
                        <a:pt x="3170" y="11134"/>
                        <a:pt x="1180" y="8611"/>
                        <a:pt x="1180" y="5683"/>
                      </a:cubicBezTo>
                      <a:cubicBezTo>
                        <a:pt x="1180" y="5260"/>
                        <a:pt x="1363" y="4724"/>
                        <a:pt x="1678" y="4447"/>
                      </a:cubicBezTo>
                      <a:cubicBezTo>
                        <a:pt x="1994" y="4169"/>
                        <a:pt x="2429" y="3920"/>
                        <a:pt x="2839" y="3958"/>
                      </a:cubicBezTo>
                      <a:lnTo>
                        <a:pt x="8795" y="4715"/>
                      </a:lnTo>
                      <a:lnTo>
                        <a:pt x="9905" y="3554"/>
                      </a:lnTo>
                      <a:cubicBezTo>
                        <a:pt x="13426" y="-128"/>
                        <a:pt x="18843" y="-1049"/>
                        <a:pt x="23379" y="1260"/>
                      </a:cubicBezTo>
                      <a:cubicBezTo>
                        <a:pt x="23846" y="1497"/>
                        <a:pt x="24300" y="1768"/>
                        <a:pt x="24723" y="2062"/>
                      </a:cubicBezTo>
                      <a:cubicBezTo>
                        <a:pt x="25395" y="2522"/>
                        <a:pt x="25562" y="3443"/>
                        <a:pt x="25098" y="4112"/>
                      </a:cubicBezTo>
                      <a:cubicBezTo>
                        <a:pt x="24634" y="4781"/>
                        <a:pt x="23716" y="4951"/>
                        <a:pt x="23048" y="4484"/>
                      </a:cubicBezTo>
                      <a:cubicBezTo>
                        <a:pt x="22729" y="4267"/>
                        <a:pt x="22395" y="4065"/>
                        <a:pt x="22044" y="3888"/>
                      </a:cubicBezTo>
                      <a:cubicBezTo>
                        <a:pt x="18675" y="2169"/>
                        <a:pt x="14650" y="2857"/>
                        <a:pt x="12041" y="5592"/>
                      </a:cubicBezTo>
                      <a:lnTo>
                        <a:pt x="10417" y="7292"/>
                      </a:lnTo>
                      <a:cubicBezTo>
                        <a:pt x="10092" y="7630"/>
                        <a:pt x="9634" y="7787"/>
                        <a:pt x="9164" y="7737"/>
                      </a:cubicBezTo>
                      <a:lnTo>
                        <a:pt x="4498" y="7144"/>
                      </a:lnTo>
                      <a:cubicBezTo>
                        <a:pt x="4934" y="8065"/>
                        <a:pt x="5729" y="8715"/>
                        <a:pt x="6713" y="8951"/>
                      </a:cubicBezTo>
                      <a:lnTo>
                        <a:pt x="11054" y="9986"/>
                      </a:lnTo>
                      <a:cubicBezTo>
                        <a:pt x="13745" y="10630"/>
                        <a:pt x="15587" y="13097"/>
                        <a:pt x="15436" y="15857"/>
                      </a:cubicBezTo>
                      <a:lnTo>
                        <a:pt x="15385" y="16765"/>
                      </a:lnTo>
                      <a:cubicBezTo>
                        <a:pt x="15363" y="17182"/>
                        <a:pt x="15164" y="17570"/>
                        <a:pt x="14839" y="17832"/>
                      </a:cubicBezTo>
                      <a:cubicBezTo>
                        <a:pt x="14514" y="18093"/>
                        <a:pt x="14098" y="18204"/>
                        <a:pt x="13682" y="18138"/>
                      </a:cubicBezTo>
                      <a:lnTo>
                        <a:pt x="7622" y="17169"/>
                      </a:lnTo>
                      <a:cubicBezTo>
                        <a:pt x="8259" y="17885"/>
                        <a:pt x="9136" y="18384"/>
                        <a:pt x="10133" y="18538"/>
                      </a:cubicBezTo>
                      <a:lnTo>
                        <a:pt x="10827" y="18646"/>
                      </a:lnTo>
                      <a:cubicBezTo>
                        <a:pt x="12543" y="18914"/>
                        <a:pt x="13865" y="20365"/>
                        <a:pt x="13969" y="22100"/>
                      </a:cubicBezTo>
                      <a:cubicBezTo>
                        <a:pt x="14054" y="23494"/>
                        <a:pt x="13360" y="24807"/>
                        <a:pt x="12158" y="25519"/>
                      </a:cubicBezTo>
                      <a:lnTo>
                        <a:pt x="9596" y="27213"/>
                      </a:lnTo>
                      <a:cubicBezTo>
                        <a:pt x="4880" y="30333"/>
                        <a:pt x="2375" y="35753"/>
                        <a:pt x="3054" y="41362"/>
                      </a:cubicBezTo>
                      <a:cubicBezTo>
                        <a:pt x="3151" y="42170"/>
                        <a:pt x="2577" y="42905"/>
                        <a:pt x="1767" y="43002"/>
                      </a:cubicBezTo>
                      <a:cubicBezTo>
                        <a:pt x="1707" y="43009"/>
                        <a:pt x="1647" y="43015"/>
                        <a:pt x="1587" y="43015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Freihandform: Form 129">
                  <a:extLst>
                    <a:ext uri="{FF2B5EF4-FFF2-40B4-BE49-F238E27FC236}">
                      <a16:creationId xmlns:a16="http://schemas.microsoft.com/office/drawing/2014/main" id="{FB5867D4-4C54-37B7-8698-DA3B282D72FB}"/>
                    </a:ext>
                  </a:extLst>
                </p:cNvPr>
                <p:cNvSpPr/>
                <p:nvPr/>
              </p:nvSpPr>
              <p:spPr>
                <a:xfrm>
                  <a:off x="986034" y="7018933"/>
                  <a:ext cx="35887" cy="33119"/>
                </a:xfrm>
                <a:custGeom>
                  <a:avLst/>
                  <a:gdLst>
                    <a:gd name="connsiteX0" fmla="*/ 14916 w 35887"/>
                    <a:gd name="connsiteY0" fmla="*/ 33119 h 33119"/>
                    <a:gd name="connsiteX1" fmla="*/ 13909 w 35887"/>
                    <a:gd name="connsiteY1" fmla="*/ 33043 h 33119"/>
                    <a:gd name="connsiteX2" fmla="*/ 2632 w 35887"/>
                    <a:gd name="connsiteY2" fmla="*/ 31305 h 33119"/>
                    <a:gd name="connsiteX3" fmla="*/ 7 w 35887"/>
                    <a:gd name="connsiteY3" fmla="*/ 28027 h 33119"/>
                    <a:gd name="connsiteX4" fmla="*/ 102 w 35887"/>
                    <a:gd name="connsiteY4" fmla="*/ 26573 h 33119"/>
                    <a:gd name="connsiteX5" fmla="*/ 1152 w 35887"/>
                    <a:gd name="connsiteY5" fmla="*/ 22242 h 33119"/>
                    <a:gd name="connsiteX6" fmla="*/ 1603 w 35887"/>
                    <a:gd name="connsiteY6" fmla="*/ 21217 h 33119"/>
                    <a:gd name="connsiteX7" fmla="*/ 3379 w 35887"/>
                    <a:gd name="connsiteY7" fmla="*/ 19542 h 33119"/>
                    <a:gd name="connsiteX8" fmla="*/ 5821 w 35887"/>
                    <a:gd name="connsiteY8" fmla="*/ 19674 h 33119"/>
                    <a:gd name="connsiteX9" fmla="*/ 11802 w 35887"/>
                    <a:gd name="connsiteY9" fmla="*/ 22624 h 33119"/>
                    <a:gd name="connsiteX10" fmla="*/ 12354 w 35887"/>
                    <a:gd name="connsiteY10" fmla="*/ 22579 h 33119"/>
                    <a:gd name="connsiteX11" fmla="*/ 12572 w 35887"/>
                    <a:gd name="connsiteY11" fmla="*/ 22128 h 33119"/>
                    <a:gd name="connsiteX12" fmla="*/ 12506 w 35887"/>
                    <a:gd name="connsiteY12" fmla="*/ 20687 h 33119"/>
                    <a:gd name="connsiteX13" fmla="*/ 22133 w 35887"/>
                    <a:gd name="connsiteY13" fmla="*/ 2983 h 33119"/>
                    <a:gd name="connsiteX14" fmla="*/ 26906 w 35887"/>
                    <a:gd name="connsiteY14" fmla="*/ 201 h 33119"/>
                    <a:gd name="connsiteX15" fmla="*/ 28922 w 35887"/>
                    <a:gd name="connsiteY15" fmla="*/ 730 h 33119"/>
                    <a:gd name="connsiteX16" fmla="*/ 28392 w 35887"/>
                    <a:gd name="connsiteY16" fmla="*/ 2746 h 33119"/>
                    <a:gd name="connsiteX17" fmla="*/ 23619 w 35887"/>
                    <a:gd name="connsiteY17" fmla="*/ 5529 h 33119"/>
                    <a:gd name="connsiteX18" fmla="*/ 15452 w 35887"/>
                    <a:gd name="connsiteY18" fmla="*/ 20545 h 33119"/>
                    <a:gd name="connsiteX19" fmla="*/ 15518 w 35887"/>
                    <a:gd name="connsiteY19" fmla="*/ 21986 h 33119"/>
                    <a:gd name="connsiteX20" fmla="*/ 14070 w 35887"/>
                    <a:gd name="connsiteY20" fmla="*/ 24971 h 33119"/>
                    <a:gd name="connsiteX21" fmla="*/ 10506 w 35887"/>
                    <a:gd name="connsiteY21" fmla="*/ 25264 h 33119"/>
                    <a:gd name="connsiteX22" fmla="*/ 4518 w 35887"/>
                    <a:gd name="connsiteY22" fmla="*/ 22308 h 33119"/>
                    <a:gd name="connsiteX23" fmla="*/ 3859 w 35887"/>
                    <a:gd name="connsiteY23" fmla="*/ 23415 h 33119"/>
                    <a:gd name="connsiteX24" fmla="*/ 3048 w 35887"/>
                    <a:gd name="connsiteY24" fmla="*/ 26756 h 33119"/>
                    <a:gd name="connsiteX25" fmla="*/ 2953 w 35887"/>
                    <a:gd name="connsiteY25" fmla="*/ 28217 h 33119"/>
                    <a:gd name="connsiteX26" fmla="*/ 14360 w 35887"/>
                    <a:gd name="connsiteY26" fmla="*/ 30122 h 33119"/>
                    <a:gd name="connsiteX27" fmla="*/ 16749 w 35887"/>
                    <a:gd name="connsiteY27" fmla="*/ 29690 h 33119"/>
                    <a:gd name="connsiteX28" fmla="*/ 18379 w 35887"/>
                    <a:gd name="connsiteY28" fmla="*/ 27848 h 33119"/>
                    <a:gd name="connsiteX29" fmla="*/ 18591 w 35887"/>
                    <a:gd name="connsiteY29" fmla="*/ 27324 h 33119"/>
                    <a:gd name="connsiteX30" fmla="*/ 30897 w 35887"/>
                    <a:gd name="connsiteY30" fmla="*/ 14415 h 33119"/>
                    <a:gd name="connsiteX31" fmla="*/ 33790 w 35887"/>
                    <a:gd name="connsiteY31" fmla="*/ 13065 h 33119"/>
                    <a:gd name="connsiteX32" fmla="*/ 35749 w 35887"/>
                    <a:gd name="connsiteY32" fmla="*/ 13778 h 33119"/>
                    <a:gd name="connsiteX33" fmla="*/ 35036 w 35887"/>
                    <a:gd name="connsiteY33" fmla="*/ 15740 h 33119"/>
                    <a:gd name="connsiteX34" fmla="*/ 32143 w 35887"/>
                    <a:gd name="connsiteY34" fmla="*/ 17090 h 33119"/>
                    <a:gd name="connsiteX35" fmla="*/ 21320 w 35887"/>
                    <a:gd name="connsiteY35" fmla="*/ 28441 h 33119"/>
                    <a:gd name="connsiteX36" fmla="*/ 21108 w 35887"/>
                    <a:gd name="connsiteY36" fmla="*/ 28964 h 33119"/>
                    <a:gd name="connsiteX37" fmla="*/ 18187 w 35887"/>
                    <a:gd name="connsiteY37" fmla="*/ 32264 h 33119"/>
                    <a:gd name="connsiteX38" fmla="*/ 14916 w 35887"/>
                    <a:gd name="connsiteY38" fmla="*/ 33116 h 33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</a:cxnLst>
                  <a:rect l="l" t="t" r="r" b="b"/>
                  <a:pathLst>
                    <a:path w="35887" h="33119">
                      <a:moveTo>
                        <a:pt x="14916" y="33119"/>
                      </a:moveTo>
                      <a:cubicBezTo>
                        <a:pt x="14581" y="33119"/>
                        <a:pt x="14244" y="33094"/>
                        <a:pt x="13909" y="33043"/>
                      </a:cubicBezTo>
                      <a:lnTo>
                        <a:pt x="2632" y="31305"/>
                      </a:lnTo>
                      <a:cubicBezTo>
                        <a:pt x="1051" y="31059"/>
                        <a:pt x="-100" y="29621"/>
                        <a:pt x="7" y="28027"/>
                      </a:cubicBezTo>
                      <a:lnTo>
                        <a:pt x="102" y="26573"/>
                      </a:lnTo>
                      <a:cubicBezTo>
                        <a:pt x="196" y="25078"/>
                        <a:pt x="550" y="23620"/>
                        <a:pt x="1152" y="22242"/>
                      </a:cubicBezTo>
                      <a:lnTo>
                        <a:pt x="1603" y="21217"/>
                      </a:lnTo>
                      <a:cubicBezTo>
                        <a:pt x="1938" y="20444"/>
                        <a:pt x="2587" y="19835"/>
                        <a:pt x="3379" y="19542"/>
                      </a:cubicBezTo>
                      <a:cubicBezTo>
                        <a:pt x="4174" y="19251"/>
                        <a:pt x="5064" y="19299"/>
                        <a:pt x="5821" y="19674"/>
                      </a:cubicBezTo>
                      <a:lnTo>
                        <a:pt x="11802" y="22624"/>
                      </a:lnTo>
                      <a:cubicBezTo>
                        <a:pt x="11985" y="22712"/>
                        <a:pt x="12193" y="22690"/>
                        <a:pt x="12354" y="22579"/>
                      </a:cubicBezTo>
                      <a:cubicBezTo>
                        <a:pt x="12499" y="22475"/>
                        <a:pt x="12581" y="22308"/>
                        <a:pt x="12572" y="22128"/>
                      </a:cubicBezTo>
                      <a:lnTo>
                        <a:pt x="12506" y="20687"/>
                      </a:lnTo>
                      <a:cubicBezTo>
                        <a:pt x="12168" y="13428"/>
                        <a:pt x="15856" y="6645"/>
                        <a:pt x="22133" y="2983"/>
                      </a:cubicBezTo>
                      <a:lnTo>
                        <a:pt x="26906" y="201"/>
                      </a:lnTo>
                      <a:cubicBezTo>
                        <a:pt x="27607" y="-210"/>
                        <a:pt x="28512" y="30"/>
                        <a:pt x="28922" y="730"/>
                      </a:cubicBezTo>
                      <a:cubicBezTo>
                        <a:pt x="29332" y="1434"/>
                        <a:pt x="29096" y="2336"/>
                        <a:pt x="28392" y="2746"/>
                      </a:cubicBezTo>
                      <a:lnTo>
                        <a:pt x="23619" y="5529"/>
                      </a:lnTo>
                      <a:cubicBezTo>
                        <a:pt x="18294" y="8636"/>
                        <a:pt x="15165" y="14390"/>
                        <a:pt x="15452" y="20545"/>
                      </a:cubicBezTo>
                      <a:lnTo>
                        <a:pt x="15518" y="21986"/>
                      </a:lnTo>
                      <a:cubicBezTo>
                        <a:pt x="15572" y="23169"/>
                        <a:pt x="15032" y="24286"/>
                        <a:pt x="14070" y="24971"/>
                      </a:cubicBezTo>
                      <a:cubicBezTo>
                        <a:pt x="13023" y="25718"/>
                        <a:pt x="11660" y="25829"/>
                        <a:pt x="10506" y="25264"/>
                      </a:cubicBezTo>
                      <a:lnTo>
                        <a:pt x="4518" y="22308"/>
                      </a:lnTo>
                      <a:lnTo>
                        <a:pt x="3859" y="23415"/>
                      </a:lnTo>
                      <a:cubicBezTo>
                        <a:pt x="3398" y="24475"/>
                        <a:pt x="3124" y="25602"/>
                        <a:pt x="3048" y="26756"/>
                      </a:cubicBezTo>
                      <a:lnTo>
                        <a:pt x="2953" y="28217"/>
                      </a:lnTo>
                      <a:lnTo>
                        <a:pt x="14360" y="30122"/>
                      </a:lnTo>
                      <a:cubicBezTo>
                        <a:pt x="15181" y="30245"/>
                        <a:pt x="16029" y="30094"/>
                        <a:pt x="16749" y="29690"/>
                      </a:cubicBezTo>
                      <a:cubicBezTo>
                        <a:pt x="17480" y="29280"/>
                        <a:pt x="18058" y="28627"/>
                        <a:pt x="18379" y="27848"/>
                      </a:cubicBezTo>
                      <a:lnTo>
                        <a:pt x="18591" y="27324"/>
                      </a:lnTo>
                      <a:cubicBezTo>
                        <a:pt x="20935" y="21608"/>
                        <a:pt x="25304" y="17024"/>
                        <a:pt x="30897" y="14415"/>
                      </a:cubicBezTo>
                      <a:lnTo>
                        <a:pt x="33790" y="13065"/>
                      </a:lnTo>
                      <a:cubicBezTo>
                        <a:pt x="34525" y="12718"/>
                        <a:pt x="35405" y="13040"/>
                        <a:pt x="35749" y="13778"/>
                      </a:cubicBezTo>
                      <a:cubicBezTo>
                        <a:pt x="36093" y="14516"/>
                        <a:pt x="35777" y="15393"/>
                        <a:pt x="35036" y="15740"/>
                      </a:cubicBezTo>
                      <a:lnTo>
                        <a:pt x="32143" y="17090"/>
                      </a:lnTo>
                      <a:cubicBezTo>
                        <a:pt x="27222" y="19384"/>
                        <a:pt x="23380" y="23415"/>
                        <a:pt x="21320" y="28441"/>
                      </a:cubicBezTo>
                      <a:lnTo>
                        <a:pt x="21108" y="28964"/>
                      </a:lnTo>
                      <a:cubicBezTo>
                        <a:pt x="20531" y="30362"/>
                        <a:pt x="19496" y="31532"/>
                        <a:pt x="18187" y="32264"/>
                      </a:cubicBezTo>
                      <a:cubicBezTo>
                        <a:pt x="17190" y="32822"/>
                        <a:pt x="16058" y="33116"/>
                        <a:pt x="14916" y="33116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Freihandform: Form 130">
                  <a:extLst>
                    <a:ext uri="{FF2B5EF4-FFF2-40B4-BE49-F238E27FC236}">
                      <a16:creationId xmlns:a16="http://schemas.microsoft.com/office/drawing/2014/main" id="{FAF200B1-B5FC-A4CC-A0F8-700491EC7E99}"/>
                    </a:ext>
                  </a:extLst>
                </p:cNvPr>
                <p:cNvSpPr/>
                <p:nvPr/>
              </p:nvSpPr>
              <p:spPr>
                <a:xfrm>
                  <a:off x="978800" y="6998230"/>
                  <a:ext cx="35707" cy="19487"/>
                </a:xfrm>
                <a:custGeom>
                  <a:avLst/>
                  <a:gdLst>
                    <a:gd name="connsiteX0" fmla="*/ 15916 w 35707"/>
                    <a:gd name="connsiteY0" fmla="*/ 19488 h 19487"/>
                    <a:gd name="connsiteX1" fmla="*/ 5938 w 35707"/>
                    <a:gd name="connsiteY1" fmla="*/ 14648 h 19487"/>
                    <a:gd name="connsiteX2" fmla="*/ 4894 w 35707"/>
                    <a:gd name="connsiteY2" fmla="*/ 13522 h 19487"/>
                    <a:gd name="connsiteX3" fmla="*/ 787 w 35707"/>
                    <a:gd name="connsiteY3" fmla="*/ 8585 h 19487"/>
                    <a:gd name="connsiteX4" fmla="*/ 370 w 35707"/>
                    <a:gd name="connsiteY4" fmla="*/ 7863 h 19487"/>
                    <a:gd name="connsiteX5" fmla="*/ 481 w 35707"/>
                    <a:gd name="connsiteY5" fmla="*/ 4620 h 19487"/>
                    <a:gd name="connsiteX6" fmla="*/ 859 w 35707"/>
                    <a:gd name="connsiteY6" fmla="*/ 4030 h 19487"/>
                    <a:gd name="connsiteX7" fmla="*/ 5882 w 35707"/>
                    <a:gd name="connsiteY7" fmla="*/ 314 h 19487"/>
                    <a:gd name="connsiteX8" fmla="*/ 6576 w 35707"/>
                    <a:gd name="connsiteY8" fmla="*/ 118 h 19487"/>
                    <a:gd name="connsiteX9" fmla="*/ 9664 w 35707"/>
                    <a:gd name="connsiteY9" fmla="*/ 932 h 19487"/>
                    <a:gd name="connsiteX10" fmla="*/ 11768 w 35707"/>
                    <a:gd name="connsiteY10" fmla="*/ 3778 h 19487"/>
                    <a:gd name="connsiteX11" fmla="*/ 13822 w 35707"/>
                    <a:gd name="connsiteY11" fmla="*/ 6620 h 19487"/>
                    <a:gd name="connsiteX12" fmla="*/ 16456 w 35707"/>
                    <a:gd name="connsiteY12" fmla="*/ 7563 h 19487"/>
                    <a:gd name="connsiteX13" fmla="*/ 30989 w 35707"/>
                    <a:gd name="connsiteY13" fmla="*/ 3431 h 19487"/>
                    <a:gd name="connsiteX14" fmla="*/ 32809 w 35707"/>
                    <a:gd name="connsiteY14" fmla="*/ 4446 h 19487"/>
                    <a:gd name="connsiteX15" fmla="*/ 31794 w 35707"/>
                    <a:gd name="connsiteY15" fmla="*/ 6267 h 19487"/>
                    <a:gd name="connsiteX16" fmla="*/ 17134 w 35707"/>
                    <a:gd name="connsiteY16" fmla="*/ 10428 h 19487"/>
                    <a:gd name="connsiteX17" fmla="*/ 11550 w 35707"/>
                    <a:gd name="connsiteY17" fmla="*/ 8500 h 19487"/>
                    <a:gd name="connsiteX18" fmla="*/ 9323 w 35707"/>
                    <a:gd name="connsiteY18" fmla="*/ 5427 h 19487"/>
                    <a:gd name="connsiteX19" fmla="*/ 7519 w 35707"/>
                    <a:gd name="connsiteY19" fmla="*/ 2957 h 19487"/>
                    <a:gd name="connsiteX20" fmla="*/ 6680 w 35707"/>
                    <a:gd name="connsiteY20" fmla="*/ 3153 h 19487"/>
                    <a:gd name="connsiteX21" fmla="*/ 3339 w 35707"/>
                    <a:gd name="connsiteY21" fmla="*/ 5623 h 19487"/>
                    <a:gd name="connsiteX22" fmla="*/ 2960 w 35707"/>
                    <a:gd name="connsiteY22" fmla="*/ 6213 h 19487"/>
                    <a:gd name="connsiteX23" fmla="*/ 3068 w 35707"/>
                    <a:gd name="connsiteY23" fmla="*/ 6673 h 19487"/>
                    <a:gd name="connsiteX24" fmla="*/ 3254 w 35707"/>
                    <a:gd name="connsiteY24" fmla="*/ 6970 h 19487"/>
                    <a:gd name="connsiteX25" fmla="*/ 7052 w 35707"/>
                    <a:gd name="connsiteY25" fmla="*/ 11510 h 19487"/>
                    <a:gd name="connsiteX26" fmla="*/ 8115 w 35707"/>
                    <a:gd name="connsiteY26" fmla="*/ 12661 h 19487"/>
                    <a:gd name="connsiteX27" fmla="*/ 16087 w 35707"/>
                    <a:gd name="connsiteY27" fmla="*/ 16538 h 19487"/>
                    <a:gd name="connsiteX28" fmla="*/ 34024 w 35707"/>
                    <a:gd name="connsiteY28" fmla="*/ 14503 h 19487"/>
                    <a:gd name="connsiteX29" fmla="*/ 35693 w 35707"/>
                    <a:gd name="connsiteY29" fmla="*/ 15756 h 19487"/>
                    <a:gd name="connsiteX30" fmla="*/ 34440 w 35707"/>
                    <a:gd name="connsiteY30" fmla="*/ 17424 h 19487"/>
                    <a:gd name="connsiteX31" fmla="*/ 16156 w 35707"/>
                    <a:gd name="connsiteY31" fmla="*/ 19484 h 19487"/>
                    <a:gd name="connsiteX32" fmla="*/ 15916 w 35707"/>
                    <a:gd name="connsiteY32" fmla="*/ 19484 h 194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35707" h="19487">
                      <a:moveTo>
                        <a:pt x="15916" y="19488"/>
                      </a:moveTo>
                      <a:cubicBezTo>
                        <a:pt x="12377" y="19488"/>
                        <a:pt x="8752" y="17734"/>
                        <a:pt x="5938" y="14648"/>
                      </a:cubicBezTo>
                      <a:lnTo>
                        <a:pt x="4894" y="13522"/>
                      </a:lnTo>
                      <a:cubicBezTo>
                        <a:pt x="3456" y="11980"/>
                        <a:pt x="1970" y="10386"/>
                        <a:pt x="787" y="8585"/>
                      </a:cubicBezTo>
                      <a:cubicBezTo>
                        <a:pt x="601" y="8304"/>
                        <a:pt x="468" y="8090"/>
                        <a:pt x="370" y="7863"/>
                      </a:cubicBezTo>
                      <a:cubicBezTo>
                        <a:pt x="-182" y="6620"/>
                        <a:pt x="-93" y="5509"/>
                        <a:pt x="481" y="4620"/>
                      </a:cubicBezTo>
                      <a:lnTo>
                        <a:pt x="859" y="4030"/>
                      </a:lnTo>
                      <a:cubicBezTo>
                        <a:pt x="2020" y="2219"/>
                        <a:pt x="3806" y="897"/>
                        <a:pt x="5882" y="314"/>
                      </a:cubicBezTo>
                      <a:lnTo>
                        <a:pt x="6576" y="118"/>
                      </a:lnTo>
                      <a:cubicBezTo>
                        <a:pt x="7686" y="-194"/>
                        <a:pt x="8859" y="125"/>
                        <a:pt x="9664" y="932"/>
                      </a:cubicBezTo>
                      <a:cubicBezTo>
                        <a:pt x="10374" y="1718"/>
                        <a:pt x="11052" y="2718"/>
                        <a:pt x="11768" y="3778"/>
                      </a:cubicBezTo>
                      <a:cubicBezTo>
                        <a:pt x="12415" y="4733"/>
                        <a:pt x="13102" y="5752"/>
                        <a:pt x="13822" y="6620"/>
                      </a:cubicBezTo>
                      <a:cubicBezTo>
                        <a:pt x="14462" y="7390"/>
                        <a:pt x="15478" y="7749"/>
                        <a:pt x="16456" y="7563"/>
                      </a:cubicBezTo>
                      <a:lnTo>
                        <a:pt x="30989" y="3431"/>
                      </a:lnTo>
                      <a:cubicBezTo>
                        <a:pt x="31775" y="3210"/>
                        <a:pt x="32585" y="3664"/>
                        <a:pt x="32809" y="4446"/>
                      </a:cubicBezTo>
                      <a:cubicBezTo>
                        <a:pt x="33030" y="5229"/>
                        <a:pt x="32576" y="6046"/>
                        <a:pt x="31794" y="6267"/>
                      </a:cubicBezTo>
                      <a:lnTo>
                        <a:pt x="17134" y="10428"/>
                      </a:lnTo>
                      <a:cubicBezTo>
                        <a:pt x="14976" y="10853"/>
                        <a:pt x="12878" y="10099"/>
                        <a:pt x="11550" y="8500"/>
                      </a:cubicBezTo>
                      <a:cubicBezTo>
                        <a:pt x="10771" y="7560"/>
                        <a:pt x="10027" y="6462"/>
                        <a:pt x="9323" y="5427"/>
                      </a:cubicBezTo>
                      <a:cubicBezTo>
                        <a:pt x="8667" y="4453"/>
                        <a:pt x="8042" y="3535"/>
                        <a:pt x="7519" y="2957"/>
                      </a:cubicBezTo>
                      <a:lnTo>
                        <a:pt x="6680" y="3153"/>
                      </a:lnTo>
                      <a:cubicBezTo>
                        <a:pt x="5298" y="3544"/>
                        <a:pt x="4112" y="4418"/>
                        <a:pt x="3339" y="5623"/>
                      </a:cubicBezTo>
                      <a:lnTo>
                        <a:pt x="2960" y="6213"/>
                      </a:lnTo>
                      <a:cubicBezTo>
                        <a:pt x="2960" y="6213"/>
                        <a:pt x="3068" y="6673"/>
                        <a:pt x="3068" y="6673"/>
                      </a:cubicBezTo>
                      <a:cubicBezTo>
                        <a:pt x="3068" y="6673"/>
                        <a:pt x="3251" y="6967"/>
                        <a:pt x="3254" y="6970"/>
                      </a:cubicBezTo>
                      <a:cubicBezTo>
                        <a:pt x="4298" y="8557"/>
                        <a:pt x="5699" y="10058"/>
                        <a:pt x="7052" y="11510"/>
                      </a:cubicBezTo>
                      <a:lnTo>
                        <a:pt x="8115" y="12661"/>
                      </a:lnTo>
                      <a:cubicBezTo>
                        <a:pt x="10418" y="15185"/>
                        <a:pt x="13311" y="16601"/>
                        <a:pt x="16087" y="16538"/>
                      </a:cubicBezTo>
                      <a:cubicBezTo>
                        <a:pt x="20374" y="16440"/>
                        <a:pt x="33888" y="14525"/>
                        <a:pt x="34024" y="14503"/>
                      </a:cubicBezTo>
                      <a:cubicBezTo>
                        <a:pt x="34832" y="14390"/>
                        <a:pt x="35576" y="14948"/>
                        <a:pt x="35693" y="15756"/>
                      </a:cubicBezTo>
                      <a:cubicBezTo>
                        <a:pt x="35806" y="16563"/>
                        <a:pt x="35245" y="17311"/>
                        <a:pt x="34440" y="17424"/>
                      </a:cubicBezTo>
                      <a:cubicBezTo>
                        <a:pt x="33879" y="17503"/>
                        <a:pt x="20617" y="19383"/>
                        <a:pt x="16156" y="19484"/>
                      </a:cubicBezTo>
                      <a:cubicBezTo>
                        <a:pt x="16077" y="19484"/>
                        <a:pt x="15995" y="19484"/>
                        <a:pt x="15916" y="19484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2" name="Freihandform: Form 131">
                  <a:extLst>
                    <a:ext uri="{FF2B5EF4-FFF2-40B4-BE49-F238E27FC236}">
                      <a16:creationId xmlns:a16="http://schemas.microsoft.com/office/drawing/2014/main" id="{90E77D2B-57F0-A823-1CA8-D31DF9A543FC}"/>
                    </a:ext>
                  </a:extLst>
                </p:cNvPr>
                <p:cNvSpPr/>
                <p:nvPr/>
              </p:nvSpPr>
              <p:spPr>
                <a:xfrm>
                  <a:off x="983053" y="6977706"/>
                  <a:ext cx="28396" cy="25550"/>
                </a:xfrm>
                <a:custGeom>
                  <a:avLst/>
                  <a:gdLst>
                    <a:gd name="connsiteX0" fmla="*/ 23244 w 28396"/>
                    <a:gd name="connsiteY0" fmla="*/ 25550 h 25550"/>
                    <a:gd name="connsiteX1" fmla="*/ 22872 w 28396"/>
                    <a:gd name="connsiteY1" fmla="*/ 25503 h 25550"/>
                    <a:gd name="connsiteX2" fmla="*/ 9947 w 28396"/>
                    <a:gd name="connsiteY2" fmla="*/ 21168 h 25550"/>
                    <a:gd name="connsiteX3" fmla="*/ 2540 w 28396"/>
                    <a:gd name="connsiteY3" fmla="*/ 13326 h 25550"/>
                    <a:gd name="connsiteX4" fmla="*/ 2013 w 28396"/>
                    <a:gd name="connsiteY4" fmla="*/ 11894 h 25550"/>
                    <a:gd name="connsiteX5" fmla="*/ 117 w 28396"/>
                    <a:gd name="connsiteY5" fmla="*/ 5745 h 25550"/>
                    <a:gd name="connsiteX6" fmla="*/ 7 w 28396"/>
                    <a:gd name="connsiteY6" fmla="*/ 4935 h 25550"/>
                    <a:gd name="connsiteX7" fmla="*/ 1 w 28396"/>
                    <a:gd name="connsiteY7" fmla="*/ 4613 h 25550"/>
                    <a:gd name="connsiteX8" fmla="*/ 1354 w 28396"/>
                    <a:gd name="connsiteY8" fmla="*/ 1966 h 25550"/>
                    <a:gd name="connsiteX9" fmla="*/ 1931 w 28396"/>
                    <a:gd name="connsiteY9" fmla="*/ 1565 h 25550"/>
                    <a:gd name="connsiteX10" fmla="*/ 7998 w 28396"/>
                    <a:gd name="connsiteY10" fmla="*/ 64 h 25550"/>
                    <a:gd name="connsiteX11" fmla="*/ 8711 w 28396"/>
                    <a:gd name="connsiteY11" fmla="*/ 149 h 25550"/>
                    <a:gd name="connsiteX12" fmla="*/ 11250 w 28396"/>
                    <a:gd name="connsiteY12" fmla="*/ 2089 h 25550"/>
                    <a:gd name="connsiteX13" fmla="*/ 12102 w 28396"/>
                    <a:gd name="connsiteY13" fmla="*/ 5531 h 25550"/>
                    <a:gd name="connsiteX14" fmla="*/ 12900 w 28396"/>
                    <a:gd name="connsiteY14" fmla="*/ 8935 h 25550"/>
                    <a:gd name="connsiteX15" fmla="*/ 14973 w 28396"/>
                    <a:gd name="connsiteY15" fmla="*/ 10821 h 25550"/>
                    <a:gd name="connsiteX16" fmla="*/ 27146 w 28396"/>
                    <a:gd name="connsiteY16" fmla="*/ 12701 h 25550"/>
                    <a:gd name="connsiteX17" fmla="*/ 28380 w 28396"/>
                    <a:gd name="connsiteY17" fmla="*/ 14383 h 25550"/>
                    <a:gd name="connsiteX18" fmla="*/ 26698 w 28396"/>
                    <a:gd name="connsiteY18" fmla="*/ 15616 h 25550"/>
                    <a:gd name="connsiteX19" fmla="*/ 14446 w 28396"/>
                    <a:gd name="connsiteY19" fmla="*/ 13723 h 25550"/>
                    <a:gd name="connsiteX20" fmla="*/ 10080 w 28396"/>
                    <a:gd name="connsiteY20" fmla="*/ 9802 h 25550"/>
                    <a:gd name="connsiteX21" fmla="*/ 9209 w 28396"/>
                    <a:gd name="connsiteY21" fmla="*/ 6121 h 25550"/>
                    <a:gd name="connsiteX22" fmla="*/ 8493 w 28396"/>
                    <a:gd name="connsiteY22" fmla="*/ 3140 h 25550"/>
                    <a:gd name="connsiteX23" fmla="*/ 7644 w 28396"/>
                    <a:gd name="connsiteY23" fmla="*/ 2998 h 25550"/>
                    <a:gd name="connsiteX24" fmla="*/ 3606 w 28396"/>
                    <a:gd name="connsiteY24" fmla="*/ 3994 h 25550"/>
                    <a:gd name="connsiteX25" fmla="*/ 3029 w 28396"/>
                    <a:gd name="connsiteY25" fmla="*/ 4395 h 25550"/>
                    <a:gd name="connsiteX26" fmla="*/ 2950 w 28396"/>
                    <a:gd name="connsiteY26" fmla="*/ 4862 h 25550"/>
                    <a:gd name="connsiteX27" fmla="*/ 3010 w 28396"/>
                    <a:gd name="connsiteY27" fmla="*/ 5196 h 25550"/>
                    <a:gd name="connsiteX28" fmla="*/ 4774 w 28396"/>
                    <a:gd name="connsiteY28" fmla="*/ 10868 h 25550"/>
                    <a:gd name="connsiteX29" fmla="*/ 5310 w 28396"/>
                    <a:gd name="connsiteY29" fmla="*/ 12329 h 25550"/>
                    <a:gd name="connsiteX30" fmla="*/ 11297 w 28396"/>
                    <a:gd name="connsiteY30" fmla="*/ 18550 h 25550"/>
                    <a:gd name="connsiteX31" fmla="*/ 23604 w 28396"/>
                    <a:gd name="connsiteY31" fmla="*/ 22645 h 25550"/>
                    <a:gd name="connsiteX32" fmla="*/ 24660 w 28396"/>
                    <a:gd name="connsiteY32" fmla="*/ 24443 h 25550"/>
                    <a:gd name="connsiteX33" fmla="*/ 23235 w 28396"/>
                    <a:gd name="connsiteY33" fmla="*/ 25547 h 255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28396" h="25550">
                      <a:moveTo>
                        <a:pt x="23244" y="25550"/>
                      </a:moveTo>
                      <a:cubicBezTo>
                        <a:pt x="23121" y="25550"/>
                        <a:pt x="22995" y="25534"/>
                        <a:pt x="22872" y="25503"/>
                      </a:cubicBezTo>
                      <a:cubicBezTo>
                        <a:pt x="19471" y="24619"/>
                        <a:pt x="12922" y="22714"/>
                        <a:pt x="9947" y="21168"/>
                      </a:cubicBezTo>
                      <a:cubicBezTo>
                        <a:pt x="6152" y="19197"/>
                        <a:pt x="3729" y="16632"/>
                        <a:pt x="2540" y="13326"/>
                      </a:cubicBezTo>
                      <a:lnTo>
                        <a:pt x="2013" y="11894"/>
                      </a:lnTo>
                      <a:cubicBezTo>
                        <a:pt x="1278" y="9916"/>
                        <a:pt x="518" y="7868"/>
                        <a:pt x="117" y="5745"/>
                      </a:cubicBezTo>
                      <a:cubicBezTo>
                        <a:pt x="57" y="5442"/>
                        <a:pt x="16" y="5190"/>
                        <a:pt x="7" y="4935"/>
                      </a:cubicBezTo>
                      <a:cubicBezTo>
                        <a:pt x="7" y="4928"/>
                        <a:pt x="1" y="4619"/>
                        <a:pt x="1" y="4613"/>
                      </a:cubicBezTo>
                      <a:cubicBezTo>
                        <a:pt x="-21" y="3559"/>
                        <a:pt x="483" y="2569"/>
                        <a:pt x="1354" y="1966"/>
                      </a:cubicBezTo>
                      <a:lnTo>
                        <a:pt x="1931" y="1565"/>
                      </a:lnTo>
                      <a:cubicBezTo>
                        <a:pt x="3704" y="338"/>
                        <a:pt x="5853" y="-195"/>
                        <a:pt x="7998" y="64"/>
                      </a:cubicBezTo>
                      <a:lnTo>
                        <a:pt x="8711" y="149"/>
                      </a:lnTo>
                      <a:cubicBezTo>
                        <a:pt x="9849" y="285"/>
                        <a:pt x="10821" y="1029"/>
                        <a:pt x="11250" y="2089"/>
                      </a:cubicBezTo>
                      <a:cubicBezTo>
                        <a:pt x="11603" y="3083"/>
                        <a:pt x="11846" y="4272"/>
                        <a:pt x="12102" y="5531"/>
                      </a:cubicBezTo>
                      <a:cubicBezTo>
                        <a:pt x="12332" y="6660"/>
                        <a:pt x="12572" y="7859"/>
                        <a:pt x="12900" y="8935"/>
                      </a:cubicBezTo>
                      <a:cubicBezTo>
                        <a:pt x="13193" y="9890"/>
                        <a:pt x="13988" y="10613"/>
                        <a:pt x="14973" y="10821"/>
                      </a:cubicBezTo>
                      <a:lnTo>
                        <a:pt x="27146" y="12701"/>
                      </a:lnTo>
                      <a:cubicBezTo>
                        <a:pt x="27951" y="12827"/>
                        <a:pt x="28503" y="13578"/>
                        <a:pt x="28380" y="14383"/>
                      </a:cubicBezTo>
                      <a:cubicBezTo>
                        <a:pt x="28257" y="15187"/>
                        <a:pt x="27500" y="15749"/>
                        <a:pt x="26698" y="15616"/>
                      </a:cubicBezTo>
                      <a:lnTo>
                        <a:pt x="14446" y="13723"/>
                      </a:lnTo>
                      <a:cubicBezTo>
                        <a:pt x="12332" y="13285"/>
                        <a:pt x="10689" y="11786"/>
                        <a:pt x="10080" y="9802"/>
                      </a:cubicBezTo>
                      <a:cubicBezTo>
                        <a:pt x="9723" y="8641"/>
                        <a:pt x="9458" y="7345"/>
                        <a:pt x="9209" y="6121"/>
                      </a:cubicBezTo>
                      <a:cubicBezTo>
                        <a:pt x="8976" y="4966"/>
                        <a:pt x="8752" y="3878"/>
                        <a:pt x="8493" y="3140"/>
                      </a:cubicBezTo>
                      <a:lnTo>
                        <a:pt x="7644" y="2998"/>
                      </a:lnTo>
                      <a:cubicBezTo>
                        <a:pt x="6206" y="2811"/>
                        <a:pt x="4783" y="3181"/>
                        <a:pt x="3606" y="3994"/>
                      </a:cubicBezTo>
                      <a:lnTo>
                        <a:pt x="3029" y="4395"/>
                      </a:lnTo>
                      <a:cubicBezTo>
                        <a:pt x="3029" y="4395"/>
                        <a:pt x="2950" y="4862"/>
                        <a:pt x="2950" y="4862"/>
                      </a:cubicBezTo>
                      <a:lnTo>
                        <a:pt x="3010" y="5196"/>
                      </a:lnTo>
                      <a:cubicBezTo>
                        <a:pt x="3364" y="7080"/>
                        <a:pt x="4080" y="9007"/>
                        <a:pt x="4774" y="10868"/>
                      </a:cubicBezTo>
                      <a:lnTo>
                        <a:pt x="5310" y="12329"/>
                      </a:lnTo>
                      <a:cubicBezTo>
                        <a:pt x="6247" y="14941"/>
                        <a:pt x="8152" y="16916"/>
                        <a:pt x="11297" y="18550"/>
                      </a:cubicBezTo>
                      <a:cubicBezTo>
                        <a:pt x="13575" y="19733"/>
                        <a:pt x="19212" y="21506"/>
                        <a:pt x="23604" y="22645"/>
                      </a:cubicBezTo>
                      <a:cubicBezTo>
                        <a:pt x="24392" y="22850"/>
                        <a:pt x="24865" y="23654"/>
                        <a:pt x="24660" y="24443"/>
                      </a:cubicBezTo>
                      <a:cubicBezTo>
                        <a:pt x="24487" y="25105"/>
                        <a:pt x="23888" y="25547"/>
                        <a:pt x="23235" y="25547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33" name="Grafik 8">
                  <a:extLst>
                    <a:ext uri="{FF2B5EF4-FFF2-40B4-BE49-F238E27FC236}">
                      <a16:creationId xmlns:a16="http://schemas.microsoft.com/office/drawing/2014/main" id="{F7228CA4-20E5-CB08-2291-038AF00D860B}"/>
                    </a:ext>
                  </a:extLst>
                </p:cNvPr>
                <p:cNvGrpSpPr/>
                <p:nvPr/>
              </p:nvGrpSpPr>
              <p:grpSpPr>
                <a:xfrm>
                  <a:off x="976074" y="6962849"/>
                  <a:ext cx="66421" cy="95374"/>
                  <a:chOff x="976074" y="6962849"/>
                  <a:chExt cx="66421" cy="95374"/>
                </a:xfrm>
                <a:solidFill>
                  <a:srgbClr val="282D37"/>
                </a:solidFill>
              </p:grpSpPr>
              <p:sp>
                <p:nvSpPr>
                  <p:cNvPr id="134" name="Freihandform: Form 133">
                    <a:extLst>
                      <a:ext uri="{FF2B5EF4-FFF2-40B4-BE49-F238E27FC236}">
                        <a16:creationId xmlns:a16="http://schemas.microsoft.com/office/drawing/2014/main" id="{862F774B-16A5-C9E9-F32E-B854509A458C}"/>
                      </a:ext>
                    </a:extLst>
                  </p:cNvPr>
                  <p:cNvSpPr/>
                  <p:nvPr/>
                </p:nvSpPr>
                <p:spPr>
                  <a:xfrm>
                    <a:off x="990379" y="6974189"/>
                    <a:ext cx="3175" cy="6719"/>
                  </a:xfrm>
                  <a:custGeom>
                    <a:avLst/>
                    <a:gdLst>
                      <a:gd name="connsiteX0" fmla="*/ 1697 w 3175"/>
                      <a:gd name="connsiteY0" fmla="*/ 6720 h 6719"/>
                      <a:gd name="connsiteX1" fmla="*/ 227 w 3175"/>
                      <a:gd name="connsiteY1" fmla="*/ 5335 h 6719"/>
                      <a:gd name="connsiteX2" fmla="*/ 3 w 3175"/>
                      <a:gd name="connsiteY2" fmla="*/ 1562 h 6719"/>
                      <a:gd name="connsiteX3" fmla="*/ 1387 w 3175"/>
                      <a:gd name="connsiteY3" fmla="*/ 1 h 6719"/>
                      <a:gd name="connsiteX4" fmla="*/ 2949 w 3175"/>
                      <a:gd name="connsiteY4" fmla="*/ 1385 h 6719"/>
                      <a:gd name="connsiteX5" fmla="*/ 3173 w 3175"/>
                      <a:gd name="connsiteY5" fmla="*/ 5158 h 6719"/>
                      <a:gd name="connsiteX6" fmla="*/ 1788 w 3175"/>
                      <a:gd name="connsiteY6" fmla="*/ 6720 h 6719"/>
                      <a:gd name="connsiteX7" fmla="*/ 1700 w 3175"/>
                      <a:gd name="connsiteY7" fmla="*/ 6720 h 67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175" h="6719">
                        <a:moveTo>
                          <a:pt x="1697" y="6720"/>
                        </a:moveTo>
                        <a:cubicBezTo>
                          <a:pt x="921" y="6720"/>
                          <a:pt x="274" y="6117"/>
                          <a:pt x="227" y="5335"/>
                        </a:cubicBezTo>
                        <a:lnTo>
                          <a:pt x="3" y="1562"/>
                        </a:lnTo>
                        <a:cubicBezTo>
                          <a:pt x="-45" y="748"/>
                          <a:pt x="574" y="51"/>
                          <a:pt x="1387" y="1"/>
                        </a:cubicBezTo>
                        <a:cubicBezTo>
                          <a:pt x="2189" y="-21"/>
                          <a:pt x="2898" y="575"/>
                          <a:pt x="2949" y="1385"/>
                        </a:cubicBezTo>
                        <a:lnTo>
                          <a:pt x="3173" y="5158"/>
                        </a:lnTo>
                        <a:cubicBezTo>
                          <a:pt x="3220" y="5972"/>
                          <a:pt x="2602" y="6669"/>
                          <a:pt x="1788" y="6720"/>
                        </a:cubicBezTo>
                        <a:cubicBezTo>
                          <a:pt x="1760" y="6720"/>
                          <a:pt x="1728" y="6720"/>
                          <a:pt x="1700" y="6720"/>
                        </a:cubicBezTo>
                        <a:close/>
                      </a:path>
                    </a:pathLst>
                  </a:custGeom>
                  <a:solidFill>
                    <a:srgbClr val="282D3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5" name="Freihandform: Form 134">
                    <a:extLst>
                      <a:ext uri="{FF2B5EF4-FFF2-40B4-BE49-F238E27FC236}">
                        <a16:creationId xmlns:a16="http://schemas.microsoft.com/office/drawing/2014/main" id="{70B3F696-D4FD-BD07-4CF4-978CE46E60DB}"/>
                      </a:ext>
                    </a:extLst>
                  </p:cNvPr>
                  <p:cNvSpPr/>
                  <p:nvPr/>
                </p:nvSpPr>
                <p:spPr>
                  <a:xfrm>
                    <a:off x="985742" y="6974505"/>
                    <a:ext cx="3903" cy="6407"/>
                  </a:xfrm>
                  <a:custGeom>
                    <a:avLst/>
                    <a:gdLst>
                      <a:gd name="connsiteX0" fmla="*/ 2425 w 3903"/>
                      <a:gd name="connsiteY0" fmla="*/ 6407 h 6407"/>
                      <a:gd name="connsiteX1" fmla="*/ 1005 w 3903"/>
                      <a:gd name="connsiteY1" fmla="*/ 5322 h 6407"/>
                      <a:gd name="connsiteX2" fmla="*/ 53 w 3903"/>
                      <a:gd name="connsiteY2" fmla="*/ 1864 h 6407"/>
                      <a:gd name="connsiteX3" fmla="*/ 1084 w 3903"/>
                      <a:gd name="connsiteY3" fmla="*/ 50 h 6407"/>
                      <a:gd name="connsiteX4" fmla="*/ 2898 w 3903"/>
                      <a:gd name="connsiteY4" fmla="*/ 1082 h 6407"/>
                      <a:gd name="connsiteX5" fmla="*/ 3851 w 3903"/>
                      <a:gd name="connsiteY5" fmla="*/ 4539 h 6407"/>
                      <a:gd name="connsiteX6" fmla="*/ 2819 w 3903"/>
                      <a:gd name="connsiteY6" fmla="*/ 6353 h 6407"/>
                      <a:gd name="connsiteX7" fmla="*/ 2425 w 3903"/>
                      <a:gd name="connsiteY7" fmla="*/ 6407 h 64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903" h="6407">
                        <a:moveTo>
                          <a:pt x="2425" y="6407"/>
                        </a:moveTo>
                        <a:cubicBezTo>
                          <a:pt x="1778" y="6407"/>
                          <a:pt x="1185" y="5978"/>
                          <a:pt x="1005" y="5322"/>
                        </a:cubicBezTo>
                        <a:lnTo>
                          <a:pt x="53" y="1864"/>
                        </a:lnTo>
                        <a:cubicBezTo>
                          <a:pt x="-162" y="1079"/>
                          <a:pt x="299" y="268"/>
                          <a:pt x="1084" y="50"/>
                        </a:cubicBezTo>
                        <a:cubicBezTo>
                          <a:pt x="1863" y="-158"/>
                          <a:pt x="2680" y="297"/>
                          <a:pt x="2898" y="1082"/>
                        </a:cubicBezTo>
                        <a:lnTo>
                          <a:pt x="3851" y="4539"/>
                        </a:lnTo>
                        <a:cubicBezTo>
                          <a:pt x="4065" y="5325"/>
                          <a:pt x="3605" y="6136"/>
                          <a:pt x="2819" y="6353"/>
                        </a:cubicBezTo>
                        <a:cubicBezTo>
                          <a:pt x="2687" y="6391"/>
                          <a:pt x="2557" y="6407"/>
                          <a:pt x="2425" y="6407"/>
                        </a:cubicBezTo>
                        <a:close/>
                      </a:path>
                    </a:pathLst>
                  </a:custGeom>
                  <a:solidFill>
                    <a:srgbClr val="282D3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6" name="Freihandform: Form 135">
                    <a:extLst>
                      <a:ext uri="{FF2B5EF4-FFF2-40B4-BE49-F238E27FC236}">
                        <a16:creationId xmlns:a16="http://schemas.microsoft.com/office/drawing/2014/main" id="{1D4C9032-26FF-BDD0-C73E-7B03F0065C8F}"/>
                      </a:ext>
                    </a:extLst>
                  </p:cNvPr>
                  <p:cNvSpPr/>
                  <p:nvPr/>
                </p:nvSpPr>
                <p:spPr>
                  <a:xfrm>
                    <a:off x="981618" y="6976750"/>
                    <a:ext cx="4461" cy="6515"/>
                  </a:xfrm>
                  <a:custGeom>
                    <a:avLst/>
                    <a:gdLst>
                      <a:gd name="connsiteX0" fmla="*/ 2985 w 4461"/>
                      <a:gd name="connsiteY0" fmla="*/ 6516 h 6515"/>
                      <a:gd name="connsiteX1" fmla="*/ 1625 w 4461"/>
                      <a:gd name="connsiteY1" fmla="*/ 5614 h 6515"/>
                      <a:gd name="connsiteX2" fmla="*/ 117 w 4461"/>
                      <a:gd name="connsiteY2" fmla="*/ 2046 h 6515"/>
                      <a:gd name="connsiteX3" fmla="*/ 903 w 4461"/>
                      <a:gd name="connsiteY3" fmla="*/ 112 h 6515"/>
                      <a:gd name="connsiteX4" fmla="*/ 2837 w 4461"/>
                      <a:gd name="connsiteY4" fmla="*/ 897 h 6515"/>
                      <a:gd name="connsiteX5" fmla="*/ 4344 w 4461"/>
                      <a:gd name="connsiteY5" fmla="*/ 4465 h 6515"/>
                      <a:gd name="connsiteX6" fmla="*/ 3559 w 4461"/>
                      <a:gd name="connsiteY6" fmla="*/ 6399 h 6515"/>
                      <a:gd name="connsiteX7" fmla="*/ 2985 w 4461"/>
                      <a:gd name="connsiteY7" fmla="*/ 6516 h 65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61" h="6515">
                        <a:moveTo>
                          <a:pt x="2985" y="6516"/>
                        </a:moveTo>
                        <a:cubicBezTo>
                          <a:pt x="2411" y="6516"/>
                          <a:pt x="1865" y="6178"/>
                          <a:pt x="1625" y="5614"/>
                        </a:cubicBezTo>
                        <a:lnTo>
                          <a:pt x="117" y="2046"/>
                        </a:lnTo>
                        <a:cubicBezTo>
                          <a:pt x="-201" y="1295"/>
                          <a:pt x="152" y="431"/>
                          <a:pt x="903" y="112"/>
                        </a:cubicBezTo>
                        <a:cubicBezTo>
                          <a:pt x="1657" y="-194"/>
                          <a:pt x="2518" y="147"/>
                          <a:pt x="2837" y="897"/>
                        </a:cubicBezTo>
                        <a:lnTo>
                          <a:pt x="4344" y="4465"/>
                        </a:lnTo>
                        <a:cubicBezTo>
                          <a:pt x="4663" y="5216"/>
                          <a:pt x="4310" y="6081"/>
                          <a:pt x="3559" y="6399"/>
                        </a:cubicBezTo>
                        <a:cubicBezTo>
                          <a:pt x="3370" y="6478"/>
                          <a:pt x="3177" y="6516"/>
                          <a:pt x="2985" y="6516"/>
                        </a:cubicBezTo>
                        <a:close/>
                      </a:path>
                    </a:pathLst>
                  </a:custGeom>
                  <a:solidFill>
                    <a:srgbClr val="282D3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7" name="Freihandform: Form 136">
                    <a:extLst>
                      <a:ext uri="{FF2B5EF4-FFF2-40B4-BE49-F238E27FC236}">
                        <a16:creationId xmlns:a16="http://schemas.microsoft.com/office/drawing/2014/main" id="{4F3A4BF6-7DE3-1909-5D37-765A28339CE6}"/>
                      </a:ext>
                    </a:extLst>
                  </p:cNvPr>
                  <p:cNvSpPr/>
                  <p:nvPr/>
                </p:nvSpPr>
                <p:spPr>
                  <a:xfrm>
                    <a:off x="983342" y="6994788"/>
                    <a:ext cx="4507" cy="6398"/>
                  </a:xfrm>
                  <a:custGeom>
                    <a:avLst/>
                    <a:gdLst>
                      <a:gd name="connsiteX0" fmla="*/ 3033 w 4507"/>
                      <a:gd name="connsiteY0" fmla="*/ 6399 h 6398"/>
                      <a:gd name="connsiteX1" fmla="*/ 1689 w 4507"/>
                      <a:gd name="connsiteY1" fmla="*/ 5531 h 6398"/>
                      <a:gd name="connsiteX2" fmla="*/ 131 w 4507"/>
                      <a:gd name="connsiteY2" fmla="*/ 2086 h 6398"/>
                      <a:gd name="connsiteX3" fmla="*/ 866 w 4507"/>
                      <a:gd name="connsiteY3" fmla="*/ 134 h 6398"/>
                      <a:gd name="connsiteX4" fmla="*/ 2819 w 4507"/>
                      <a:gd name="connsiteY4" fmla="*/ 869 h 6398"/>
                      <a:gd name="connsiteX5" fmla="*/ 4377 w 4507"/>
                      <a:gd name="connsiteY5" fmla="*/ 4314 h 6398"/>
                      <a:gd name="connsiteX6" fmla="*/ 3642 w 4507"/>
                      <a:gd name="connsiteY6" fmla="*/ 6266 h 6398"/>
                      <a:gd name="connsiteX7" fmla="*/ 3036 w 4507"/>
                      <a:gd name="connsiteY7" fmla="*/ 6399 h 63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507" h="6398">
                        <a:moveTo>
                          <a:pt x="3033" y="6399"/>
                        </a:moveTo>
                        <a:cubicBezTo>
                          <a:pt x="2472" y="6399"/>
                          <a:pt x="1935" y="6074"/>
                          <a:pt x="1689" y="5531"/>
                        </a:cubicBezTo>
                        <a:lnTo>
                          <a:pt x="131" y="2086"/>
                        </a:lnTo>
                        <a:cubicBezTo>
                          <a:pt x="-203" y="1345"/>
                          <a:pt x="125" y="471"/>
                          <a:pt x="866" y="134"/>
                        </a:cubicBezTo>
                        <a:cubicBezTo>
                          <a:pt x="1607" y="-207"/>
                          <a:pt x="2481" y="127"/>
                          <a:pt x="2819" y="869"/>
                        </a:cubicBezTo>
                        <a:lnTo>
                          <a:pt x="4377" y="4314"/>
                        </a:lnTo>
                        <a:cubicBezTo>
                          <a:pt x="4711" y="5055"/>
                          <a:pt x="4383" y="5929"/>
                          <a:pt x="3642" y="6266"/>
                        </a:cubicBezTo>
                        <a:cubicBezTo>
                          <a:pt x="3446" y="6355"/>
                          <a:pt x="3238" y="6399"/>
                          <a:pt x="3036" y="6399"/>
                        </a:cubicBezTo>
                        <a:close/>
                      </a:path>
                    </a:pathLst>
                  </a:custGeom>
                  <a:solidFill>
                    <a:srgbClr val="282D3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8" name="Freihandform: Form 137">
                    <a:extLst>
                      <a:ext uri="{FF2B5EF4-FFF2-40B4-BE49-F238E27FC236}">
                        <a16:creationId xmlns:a16="http://schemas.microsoft.com/office/drawing/2014/main" id="{06E0BF12-06D5-3A01-A45F-12C1E1AB7ABF}"/>
                      </a:ext>
                    </a:extLst>
                  </p:cNvPr>
                  <p:cNvSpPr/>
                  <p:nvPr/>
                </p:nvSpPr>
                <p:spPr>
                  <a:xfrm>
                    <a:off x="979122" y="6996743"/>
                    <a:ext cx="5076" cy="5837"/>
                  </a:xfrm>
                  <a:custGeom>
                    <a:avLst/>
                    <a:gdLst>
                      <a:gd name="connsiteX0" fmla="*/ 3603 w 5076"/>
                      <a:gd name="connsiteY0" fmla="*/ 5838 h 5837"/>
                      <a:gd name="connsiteX1" fmla="*/ 2414 w 5076"/>
                      <a:gd name="connsiteY1" fmla="*/ 5239 h 5837"/>
                      <a:gd name="connsiteX2" fmla="*/ 288 w 5076"/>
                      <a:gd name="connsiteY2" fmla="*/ 2352 h 5837"/>
                      <a:gd name="connsiteX3" fmla="*/ 600 w 5076"/>
                      <a:gd name="connsiteY3" fmla="*/ 289 h 5837"/>
                      <a:gd name="connsiteX4" fmla="*/ 2663 w 5076"/>
                      <a:gd name="connsiteY4" fmla="*/ 601 h 5837"/>
                      <a:gd name="connsiteX5" fmla="*/ 4789 w 5076"/>
                      <a:gd name="connsiteY5" fmla="*/ 3488 h 5837"/>
                      <a:gd name="connsiteX6" fmla="*/ 4477 w 5076"/>
                      <a:gd name="connsiteY6" fmla="*/ 5551 h 5837"/>
                      <a:gd name="connsiteX7" fmla="*/ 3603 w 5076"/>
                      <a:gd name="connsiteY7" fmla="*/ 5838 h 58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076" h="5837">
                        <a:moveTo>
                          <a:pt x="3603" y="5838"/>
                        </a:moveTo>
                        <a:cubicBezTo>
                          <a:pt x="3149" y="5838"/>
                          <a:pt x="2704" y="5633"/>
                          <a:pt x="2414" y="5239"/>
                        </a:cubicBezTo>
                        <a:lnTo>
                          <a:pt x="288" y="2352"/>
                        </a:lnTo>
                        <a:cubicBezTo>
                          <a:pt x="-195" y="1696"/>
                          <a:pt x="-56" y="775"/>
                          <a:pt x="600" y="289"/>
                        </a:cubicBezTo>
                        <a:cubicBezTo>
                          <a:pt x="1256" y="-197"/>
                          <a:pt x="2177" y="-55"/>
                          <a:pt x="2663" y="601"/>
                        </a:cubicBezTo>
                        <a:lnTo>
                          <a:pt x="4789" y="3488"/>
                        </a:lnTo>
                        <a:cubicBezTo>
                          <a:pt x="5272" y="4144"/>
                          <a:pt x="5133" y="5065"/>
                          <a:pt x="4477" y="5551"/>
                        </a:cubicBezTo>
                        <a:cubicBezTo>
                          <a:pt x="4215" y="5746"/>
                          <a:pt x="3906" y="5838"/>
                          <a:pt x="3603" y="5838"/>
                        </a:cubicBezTo>
                        <a:close/>
                      </a:path>
                    </a:pathLst>
                  </a:custGeom>
                  <a:solidFill>
                    <a:srgbClr val="282D3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9" name="Freihandform: Form 138">
                    <a:extLst>
                      <a:ext uri="{FF2B5EF4-FFF2-40B4-BE49-F238E27FC236}">
                        <a16:creationId xmlns:a16="http://schemas.microsoft.com/office/drawing/2014/main" id="{AA4B0D8F-259A-E536-5EE5-4096F4D34D3A}"/>
                      </a:ext>
                    </a:extLst>
                  </p:cNvPr>
                  <p:cNvSpPr/>
                  <p:nvPr/>
                </p:nvSpPr>
                <p:spPr>
                  <a:xfrm>
                    <a:off x="976074" y="7000316"/>
                    <a:ext cx="5637" cy="5738"/>
                  </a:xfrm>
                  <a:custGeom>
                    <a:avLst/>
                    <a:gdLst>
                      <a:gd name="connsiteX0" fmla="*/ 4162 w 5637"/>
                      <a:gd name="connsiteY0" fmla="*/ 5739 h 5738"/>
                      <a:gd name="connsiteX1" fmla="*/ 3099 w 5637"/>
                      <a:gd name="connsiteY1" fmla="*/ 5287 h 5738"/>
                      <a:gd name="connsiteX2" fmla="*/ 412 w 5637"/>
                      <a:gd name="connsiteY2" fmla="*/ 2496 h 5738"/>
                      <a:gd name="connsiteX3" fmla="*/ 453 w 5637"/>
                      <a:gd name="connsiteY3" fmla="*/ 410 h 5738"/>
                      <a:gd name="connsiteX4" fmla="*/ 2538 w 5637"/>
                      <a:gd name="connsiteY4" fmla="*/ 451 h 5738"/>
                      <a:gd name="connsiteX5" fmla="*/ 5226 w 5637"/>
                      <a:gd name="connsiteY5" fmla="*/ 3243 h 5738"/>
                      <a:gd name="connsiteX6" fmla="*/ 5185 w 5637"/>
                      <a:gd name="connsiteY6" fmla="*/ 5328 h 5738"/>
                      <a:gd name="connsiteX7" fmla="*/ 4162 w 5637"/>
                      <a:gd name="connsiteY7" fmla="*/ 5739 h 57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637" h="5738">
                        <a:moveTo>
                          <a:pt x="4162" y="5739"/>
                        </a:moveTo>
                        <a:cubicBezTo>
                          <a:pt x="3774" y="5739"/>
                          <a:pt x="3390" y="5587"/>
                          <a:pt x="3099" y="5287"/>
                        </a:cubicBezTo>
                        <a:lnTo>
                          <a:pt x="412" y="2496"/>
                        </a:lnTo>
                        <a:cubicBezTo>
                          <a:pt x="-153" y="1909"/>
                          <a:pt x="-134" y="975"/>
                          <a:pt x="453" y="410"/>
                        </a:cubicBezTo>
                        <a:cubicBezTo>
                          <a:pt x="1042" y="-154"/>
                          <a:pt x="1973" y="-132"/>
                          <a:pt x="2538" y="451"/>
                        </a:cubicBezTo>
                        <a:lnTo>
                          <a:pt x="5226" y="3243"/>
                        </a:lnTo>
                        <a:cubicBezTo>
                          <a:pt x="5790" y="3830"/>
                          <a:pt x="5771" y="4764"/>
                          <a:pt x="5185" y="5328"/>
                        </a:cubicBezTo>
                        <a:cubicBezTo>
                          <a:pt x="4897" y="5603"/>
                          <a:pt x="4528" y="5739"/>
                          <a:pt x="4162" y="5739"/>
                        </a:cubicBezTo>
                        <a:close/>
                      </a:path>
                    </a:pathLst>
                  </a:custGeom>
                  <a:solidFill>
                    <a:srgbClr val="282D3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0" name="Freihandform: Form 139">
                    <a:extLst>
                      <a:ext uri="{FF2B5EF4-FFF2-40B4-BE49-F238E27FC236}">
                        <a16:creationId xmlns:a16="http://schemas.microsoft.com/office/drawing/2014/main" id="{D11B22AE-26BC-1723-34AE-793B2083B53D}"/>
                      </a:ext>
                    </a:extLst>
                  </p:cNvPr>
                  <p:cNvSpPr/>
                  <p:nvPr/>
                </p:nvSpPr>
                <p:spPr>
                  <a:xfrm>
                    <a:off x="984572" y="7036989"/>
                    <a:ext cx="6332" cy="4640"/>
                  </a:xfrm>
                  <a:custGeom>
                    <a:avLst/>
                    <a:gdLst>
                      <a:gd name="connsiteX0" fmla="*/ 4854 w 6332"/>
                      <a:gd name="connsiteY0" fmla="*/ 4637 h 4640"/>
                      <a:gd name="connsiteX1" fmla="*/ 4198 w 6332"/>
                      <a:gd name="connsiteY1" fmla="*/ 4483 h 4640"/>
                      <a:gd name="connsiteX2" fmla="*/ 816 w 6332"/>
                      <a:gd name="connsiteY2" fmla="*/ 2795 h 4640"/>
                      <a:gd name="connsiteX3" fmla="*/ 157 w 6332"/>
                      <a:gd name="connsiteY3" fmla="*/ 817 h 4640"/>
                      <a:gd name="connsiteX4" fmla="*/ 2135 w 6332"/>
                      <a:gd name="connsiteY4" fmla="*/ 158 h 4640"/>
                      <a:gd name="connsiteX5" fmla="*/ 5517 w 6332"/>
                      <a:gd name="connsiteY5" fmla="*/ 1845 h 4640"/>
                      <a:gd name="connsiteX6" fmla="*/ 6176 w 6332"/>
                      <a:gd name="connsiteY6" fmla="*/ 3823 h 4640"/>
                      <a:gd name="connsiteX7" fmla="*/ 4854 w 6332"/>
                      <a:gd name="connsiteY7" fmla="*/ 4640 h 46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332" h="4640">
                        <a:moveTo>
                          <a:pt x="4854" y="4637"/>
                        </a:moveTo>
                        <a:cubicBezTo>
                          <a:pt x="4633" y="4637"/>
                          <a:pt x="4409" y="4587"/>
                          <a:pt x="4198" y="4483"/>
                        </a:cubicBezTo>
                        <a:lnTo>
                          <a:pt x="816" y="2795"/>
                        </a:lnTo>
                        <a:cubicBezTo>
                          <a:pt x="87" y="2429"/>
                          <a:pt x="-209" y="1546"/>
                          <a:pt x="157" y="817"/>
                        </a:cubicBezTo>
                        <a:cubicBezTo>
                          <a:pt x="520" y="91"/>
                          <a:pt x="1400" y="-211"/>
                          <a:pt x="2135" y="158"/>
                        </a:cubicBezTo>
                        <a:lnTo>
                          <a:pt x="5517" y="1845"/>
                        </a:lnTo>
                        <a:cubicBezTo>
                          <a:pt x="6245" y="2211"/>
                          <a:pt x="6542" y="3095"/>
                          <a:pt x="6176" y="3823"/>
                        </a:cubicBezTo>
                        <a:cubicBezTo>
                          <a:pt x="5917" y="4341"/>
                          <a:pt x="5397" y="4640"/>
                          <a:pt x="4854" y="4640"/>
                        </a:cubicBezTo>
                        <a:close/>
                      </a:path>
                    </a:pathLst>
                  </a:custGeom>
                  <a:solidFill>
                    <a:srgbClr val="282D3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1" name="Freihandform: Form 140">
                    <a:extLst>
                      <a:ext uri="{FF2B5EF4-FFF2-40B4-BE49-F238E27FC236}">
                        <a16:creationId xmlns:a16="http://schemas.microsoft.com/office/drawing/2014/main" id="{F258F095-65B8-C493-B04F-A048ED935927}"/>
                      </a:ext>
                    </a:extLst>
                  </p:cNvPr>
                  <p:cNvSpPr/>
                  <p:nvPr/>
                </p:nvSpPr>
                <p:spPr>
                  <a:xfrm>
                    <a:off x="983010" y="7041108"/>
                    <a:ext cx="6377" cy="4000"/>
                  </a:xfrm>
                  <a:custGeom>
                    <a:avLst/>
                    <a:gdLst>
                      <a:gd name="connsiteX0" fmla="*/ 4905 w 6377"/>
                      <a:gd name="connsiteY0" fmla="*/ 4001 h 4000"/>
                      <a:gd name="connsiteX1" fmla="*/ 4473 w 6377"/>
                      <a:gd name="connsiteY1" fmla="*/ 3934 h 4000"/>
                      <a:gd name="connsiteX2" fmla="*/ 1043 w 6377"/>
                      <a:gd name="connsiteY2" fmla="*/ 2884 h 4000"/>
                      <a:gd name="connsiteX3" fmla="*/ 66 w 6377"/>
                      <a:gd name="connsiteY3" fmla="*/ 1045 h 4000"/>
                      <a:gd name="connsiteX4" fmla="*/ 1905 w 6377"/>
                      <a:gd name="connsiteY4" fmla="*/ 67 h 4000"/>
                      <a:gd name="connsiteX5" fmla="*/ 5334 w 6377"/>
                      <a:gd name="connsiteY5" fmla="*/ 1117 h 4000"/>
                      <a:gd name="connsiteX6" fmla="*/ 6312 w 6377"/>
                      <a:gd name="connsiteY6" fmla="*/ 2956 h 4000"/>
                      <a:gd name="connsiteX7" fmla="*/ 4902 w 6377"/>
                      <a:gd name="connsiteY7" fmla="*/ 4001 h 4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377" h="4000">
                        <a:moveTo>
                          <a:pt x="4905" y="4001"/>
                        </a:moveTo>
                        <a:cubicBezTo>
                          <a:pt x="4763" y="4001"/>
                          <a:pt x="4618" y="3978"/>
                          <a:pt x="4473" y="3934"/>
                        </a:cubicBezTo>
                        <a:lnTo>
                          <a:pt x="1043" y="2884"/>
                        </a:lnTo>
                        <a:cubicBezTo>
                          <a:pt x="264" y="2647"/>
                          <a:pt x="-174" y="1821"/>
                          <a:pt x="66" y="1045"/>
                        </a:cubicBezTo>
                        <a:cubicBezTo>
                          <a:pt x="302" y="265"/>
                          <a:pt x="1129" y="-176"/>
                          <a:pt x="1905" y="67"/>
                        </a:cubicBezTo>
                        <a:lnTo>
                          <a:pt x="5334" y="1117"/>
                        </a:lnTo>
                        <a:cubicBezTo>
                          <a:pt x="6113" y="1354"/>
                          <a:pt x="6551" y="2180"/>
                          <a:pt x="6312" y="2956"/>
                        </a:cubicBezTo>
                        <a:cubicBezTo>
                          <a:pt x="6116" y="3594"/>
                          <a:pt x="5533" y="4001"/>
                          <a:pt x="4902" y="4001"/>
                        </a:cubicBezTo>
                        <a:close/>
                      </a:path>
                    </a:pathLst>
                  </a:custGeom>
                  <a:solidFill>
                    <a:srgbClr val="282D3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2" name="Freihandform: Form 141">
                    <a:extLst>
                      <a:ext uri="{FF2B5EF4-FFF2-40B4-BE49-F238E27FC236}">
                        <a16:creationId xmlns:a16="http://schemas.microsoft.com/office/drawing/2014/main" id="{FA819816-827A-5EF3-2CF0-DC7F22B1A947}"/>
                      </a:ext>
                    </a:extLst>
                  </p:cNvPr>
                  <p:cNvSpPr/>
                  <p:nvPr/>
                </p:nvSpPr>
                <p:spPr>
                  <a:xfrm>
                    <a:off x="982328" y="7045464"/>
                    <a:ext cx="6747" cy="3705"/>
                  </a:xfrm>
                  <a:custGeom>
                    <a:avLst/>
                    <a:gdLst>
                      <a:gd name="connsiteX0" fmla="*/ 5274 w 6747"/>
                      <a:gd name="connsiteY0" fmla="*/ 3705 h 3705"/>
                      <a:gd name="connsiteX1" fmla="*/ 4984 w 6747"/>
                      <a:gd name="connsiteY1" fmla="*/ 3677 h 3705"/>
                      <a:gd name="connsiteX2" fmla="*/ 1186 w 6747"/>
                      <a:gd name="connsiteY2" fmla="*/ 2923 h 3705"/>
                      <a:gd name="connsiteX3" fmla="*/ 28 w 6747"/>
                      <a:gd name="connsiteY3" fmla="*/ 1188 h 3705"/>
                      <a:gd name="connsiteX4" fmla="*/ 1763 w 6747"/>
                      <a:gd name="connsiteY4" fmla="*/ 30 h 3705"/>
                      <a:gd name="connsiteX5" fmla="*/ 5562 w 6747"/>
                      <a:gd name="connsiteY5" fmla="*/ 784 h 3705"/>
                      <a:gd name="connsiteX6" fmla="*/ 6719 w 6747"/>
                      <a:gd name="connsiteY6" fmla="*/ 2519 h 3705"/>
                      <a:gd name="connsiteX7" fmla="*/ 5274 w 6747"/>
                      <a:gd name="connsiteY7" fmla="*/ 3705 h 37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747" h="3705">
                        <a:moveTo>
                          <a:pt x="5274" y="3705"/>
                        </a:moveTo>
                        <a:cubicBezTo>
                          <a:pt x="5180" y="3705"/>
                          <a:pt x="5082" y="3696"/>
                          <a:pt x="4984" y="3677"/>
                        </a:cubicBezTo>
                        <a:lnTo>
                          <a:pt x="1186" y="2923"/>
                        </a:lnTo>
                        <a:cubicBezTo>
                          <a:pt x="388" y="2765"/>
                          <a:pt x="-129" y="1989"/>
                          <a:pt x="28" y="1188"/>
                        </a:cubicBezTo>
                        <a:cubicBezTo>
                          <a:pt x="186" y="390"/>
                          <a:pt x="965" y="-134"/>
                          <a:pt x="1763" y="30"/>
                        </a:cubicBezTo>
                        <a:lnTo>
                          <a:pt x="5562" y="784"/>
                        </a:lnTo>
                        <a:cubicBezTo>
                          <a:pt x="6360" y="942"/>
                          <a:pt x="6877" y="1718"/>
                          <a:pt x="6719" y="2519"/>
                        </a:cubicBezTo>
                        <a:cubicBezTo>
                          <a:pt x="6580" y="3219"/>
                          <a:pt x="5965" y="3705"/>
                          <a:pt x="5274" y="3705"/>
                        </a:cubicBezTo>
                        <a:close/>
                      </a:path>
                    </a:pathLst>
                  </a:custGeom>
                  <a:solidFill>
                    <a:srgbClr val="282D3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3" name="Freihandform: Form 142">
                    <a:extLst>
                      <a:ext uri="{FF2B5EF4-FFF2-40B4-BE49-F238E27FC236}">
                        <a16:creationId xmlns:a16="http://schemas.microsoft.com/office/drawing/2014/main" id="{727FEBA3-7F99-AE76-804F-73240E92D099}"/>
                      </a:ext>
                    </a:extLst>
                  </p:cNvPr>
                  <p:cNvSpPr/>
                  <p:nvPr/>
                </p:nvSpPr>
                <p:spPr>
                  <a:xfrm>
                    <a:off x="1013421" y="7045807"/>
                    <a:ext cx="6581" cy="4008"/>
                  </a:xfrm>
                  <a:custGeom>
                    <a:avLst/>
                    <a:gdLst>
                      <a:gd name="connsiteX0" fmla="*/ 5106 w 6581"/>
                      <a:gd name="connsiteY0" fmla="*/ 4009 h 4008"/>
                      <a:gd name="connsiteX1" fmla="*/ 4693 w 6581"/>
                      <a:gd name="connsiteY1" fmla="*/ 3949 h 4008"/>
                      <a:gd name="connsiteX2" fmla="*/ 1062 w 6581"/>
                      <a:gd name="connsiteY2" fmla="*/ 2892 h 4008"/>
                      <a:gd name="connsiteX3" fmla="*/ 59 w 6581"/>
                      <a:gd name="connsiteY3" fmla="*/ 1062 h 4008"/>
                      <a:gd name="connsiteX4" fmla="*/ 1889 w 6581"/>
                      <a:gd name="connsiteY4" fmla="*/ 59 h 4008"/>
                      <a:gd name="connsiteX5" fmla="*/ 5520 w 6581"/>
                      <a:gd name="connsiteY5" fmla="*/ 1116 h 4008"/>
                      <a:gd name="connsiteX6" fmla="*/ 6523 w 6581"/>
                      <a:gd name="connsiteY6" fmla="*/ 2946 h 4008"/>
                      <a:gd name="connsiteX7" fmla="*/ 5106 w 6581"/>
                      <a:gd name="connsiteY7" fmla="*/ 4009 h 40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581" h="4008">
                        <a:moveTo>
                          <a:pt x="5106" y="4009"/>
                        </a:moveTo>
                        <a:cubicBezTo>
                          <a:pt x="4971" y="4009"/>
                          <a:pt x="4832" y="3990"/>
                          <a:pt x="4693" y="3949"/>
                        </a:cubicBezTo>
                        <a:lnTo>
                          <a:pt x="1062" y="2892"/>
                        </a:lnTo>
                        <a:cubicBezTo>
                          <a:pt x="280" y="2665"/>
                          <a:pt x="-168" y="1845"/>
                          <a:pt x="59" y="1062"/>
                        </a:cubicBezTo>
                        <a:cubicBezTo>
                          <a:pt x="286" y="280"/>
                          <a:pt x="1097" y="-168"/>
                          <a:pt x="1889" y="59"/>
                        </a:cubicBezTo>
                        <a:lnTo>
                          <a:pt x="5520" y="1116"/>
                        </a:lnTo>
                        <a:cubicBezTo>
                          <a:pt x="6302" y="1343"/>
                          <a:pt x="6750" y="2163"/>
                          <a:pt x="6523" y="2946"/>
                        </a:cubicBezTo>
                        <a:cubicBezTo>
                          <a:pt x="6337" y="3589"/>
                          <a:pt x="5747" y="4009"/>
                          <a:pt x="5106" y="4009"/>
                        </a:cubicBezTo>
                        <a:close/>
                      </a:path>
                    </a:pathLst>
                  </a:custGeom>
                  <a:solidFill>
                    <a:srgbClr val="282D3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4" name="Freihandform: Form 143">
                    <a:extLst>
                      <a:ext uri="{FF2B5EF4-FFF2-40B4-BE49-F238E27FC236}">
                        <a16:creationId xmlns:a16="http://schemas.microsoft.com/office/drawing/2014/main" id="{75B6F2BD-CFDD-4C96-9964-C1BAB7A4A911}"/>
                      </a:ext>
                    </a:extLst>
                  </p:cNvPr>
                  <p:cNvSpPr/>
                  <p:nvPr/>
                </p:nvSpPr>
                <p:spPr>
                  <a:xfrm>
                    <a:off x="1012569" y="7050128"/>
                    <a:ext cx="6514" cy="3327"/>
                  </a:xfrm>
                  <a:custGeom>
                    <a:avLst/>
                    <a:gdLst>
                      <a:gd name="connsiteX0" fmla="*/ 5040 w 6514"/>
                      <a:gd name="connsiteY0" fmla="*/ 3328 h 3327"/>
                      <a:gd name="connsiteX1" fmla="*/ 4885 w 6514"/>
                      <a:gd name="connsiteY1" fmla="*/ 3319 h 3327"/>
                      <a:gd name="connsiteX2" fmla="*/ 1321 w 6514"/>
                      <a:gd name="connsiteY2" fmla="*/ 2943 h 3327"/>
                      <a:gd name="connsiteX3" fmla="*/ 8 w 6514"/>
                      <a:gd name="connsiteY3" fmla="*/ 1322 h 3327"/>
                      <a:gd name="connsiteX4" fmla="*/ 1630 w 6514"/>
                      <a:gd name="connsiteY4" fmla="*/ 9 h 3327"/>
                      <a:gd name="connsiteX5" fmla="*/ 5194 w 6514"/>
                      <a:gd name="connsiteY5" fmla="*/ 385 h 3327"/>
                      <a:gd name="connsiteX6" fmla="*/ 6507 w 6514"/>
                      <a:gd name="connsiteY6" fmla="*/ 2006 h 3327"/>
                      <a:gd name="connsiteX7" fmla="*/ 5043 w 6514"/>
                      <a:gd name="connsiteY7" fmla="*/ 3328 h 3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514" h="3327">
                        <a:moveTo>
                          <a:pt x="5040" y="3328"/>
                        </a:moveTo>
                        <a:cubicBezTo>
                          <a:pt x="4989" y="3328"/>
                          <a:pt x="4936" y="3328"/>
                          <a:pt x="4885" y="3319"/>
                        </a:cubicBezTo>
                        <a:lnTo>
                          <a:pt x="1321" y="2943"/>
                        </a:lnTo>
                        <a:cubicBezTo>
                          <a:pt x="510" y="2858"/>
                          <a:pt x="-77" y="2132"/>
                          <a:pt x="8" y="1322"/>
                        </a:cubicBezTo>
                        <a:cubicBezTo>
                          <a:pt x="93" y="511"/>
                          <a:pt x="813" y="-82"/>
                          <a:pt x="1630" y="9"/>
                        </a:cubicBezTo>
                        <a:lnTo>
                          <a:pt x="5194" y="385"/>
                        </a:lnTo>
                        <a:cubicBezTo>
                          <a:pt x="6005" y="470"/>
                          <a:pt x="6592" y="1195"/>
                          <a:pt x="6507" y="2006"/>
                        </a:cubicBezTo>
                        <a:cubicBezTo>
                          <a:pt x="6428" y="2763"/>
                          <a:pt x="5787" y="3328"/>
                          <a:pt x="5043" y="3328"/>
                        </a:cubicBezTo>
                        <a:close/>
                      </a:path>
                    </a:pathLst>
                  </a:custGeom>
                  <a:solidFill>
                    <a:srgbClr val="282D3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5" name="Freihandform: Form 144">
                    <a:extLst>
                      <a:ext uri="{FF2B5EF4-FFF2-40B4-BE49-F238E27FC236}">
                        <a16:creationId xmlns:a16="http://schemas.microsoft.com/office/drawing/2014/main" id="{99E76548-DBC1-53FB-3DBB-783F226EE924}"/>
                      </a:ext>
                    </a:extLst>
                  </p:cNvPr>
                  <p:cNvSpPr/>
                  <p:nvPr/>
                </p:nvSpPr>
                <p:spPr>
                  <a:xfrm>
                    <a:off x="1012801" y="7054529"/>
                    <a:ext cx="6820" cy="3009"/>
                  </a:xfrm>
                  <a:custGeom>
                    <a:avLst/>
                    <a:gdLst>
                      <a:gd name="connsiteX0" fmla="*/ 5347 w 6820"/>
                      <a:gd name="connsiteY0" fmla="*/ 3010 h 3009"/>
                      <a:gd name="connsiteX1" fmla="*/ 5322 w 6820"/>
                      <a:gd name="connsiteY1" fmla="*/ 3010 h 3009"/>
                      <a:gd name="connsiteX2" fmla="*/ 1448 w 6820"/>
                      <a:gd name="connsiteY2" fmla="*/ 2946 h 3009"/>
                      <a:gd name="connsiteX3" fmla="*/ 0 w 6820"/>
                      <a:gd name="connsiteY3" fmla="*/ 1448 h 3009"/>
                      <a:gd name="connsiteX4" fmla="*/ 1473 w 6820"/>
                      <a:gd name="connsiteY4" fmla="*/ 0 h 3009"/>
                      <a:gd name="connsiteX5" fmla="*/ 1499 w 6820"/>
                      <a:gd name="connsiteY5" fmla="*/ 0 h 3009"/>
                      <a:gd name="connsiteX6" fmla="*/ 5373 w 6820"/>
                      <a:gd name="connsiteY6" fmla="*/ 63 h 3009"/>
                      <a:gd name="connsiteX7" fmla="*/ 6821 w 6820"/>
                      <a:gd name="connsiteY7" fmla="*/ 1562 h 3009"/>
                      <a:gd name="connsiteX8" fmla="*/ 5347 w 6820"/>
                      <a:gd name="connsiteY8" fmla="*/ 3010 h 30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6820" h="3009">
                        <a:moveTo>
                          <a:pt x="5347" y="3010"/>
                        </a:moveTo>
                        <a:lnTo>
                          <a:pt x="5322" y="3010"/>
                        </a:lnTo>
                        <a:lnTo>
                          <a:pt x="1448" y="2946"/>
                        </a:lnTo>
                        <a:cubicBezTo>
                          <a:pt x="634" y="2934"/>
                          <a:pt x="-15" y="2262"/>
                          <a:pt x="0" y="1448"/>
                        </a:cubicBezTo>
                        <a:cubicBezTo>
                          <a:pt x="13" y="644"/>
                          <a:pt x="669" y="0"/>
                          <a:pt x="1473" y="0"/>
                        </a:cubicBezTo>
                        <a:lnTo>
                          <a:pt x="1499" y="0"/>
                        </a:lnTo>
                        <a:lnTo>
                          <a:pt x="5373" y="63"/>
                        </a:lnTo>
                        <a:cubicBezTo>
                          <a:pt x="6187" y="76"/>
                          <a:pt x="6836" y="748"/>
                          <a:pt x="6821" y="1562"/>
                        </a:cubicBezTo>
                        <a:cubicBezTo>
                          <a:pt x="6808" y="2366"/>
                          <a:pt x="6152" y="3010"/>
                          <a:pt x="5347" y="3010"/>
                        </a:cubicBezTo>
                        <a:close/>
                      </a:path>
                    </a:pathLst>
                  </a:custGeom>
                  <a:solidFill>
                    <a:srgbClr val="282D3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6" name="Freihandform: Form 145">
                    <a:extLst>
                      <a:ext uri="{FF2B5EF4-FFF2-40B4-BE49-F238E27FC236}">
                        <a16:creationId xmlns:a16="http://schemas.microsoft.com/office/drawing/2014/main" id="{5138DC58-6CB0-3AE9-D96E-A8A0A5892DEF}"/>
                      </a:ext>
                    </a:extLst>
                  </p:cNvPr>
                  <p:cNvSpPr/>
                  <p:nvPr/>
                </p:nvSpPr>
                <p:spPr>
                  <a:xfrm>
                    <a:off x="1025191" y="6962849"/>
                    <a:ext cx="11131" cy="9855"/>
                  </a:xfrm>
                  <a:custGeom>
                    <a:avLst/>
                    <a:gdLst>
                      <a:gd name="connsiteX0" fmla="*/ 7390 w 11131"/>
                      <a:gd name="connsiteY0" fmla="*/ 9855 h 9855"/>
                      <a:gd name="connsiteX1" fmla="*/ 6560 w 11131"/>
                      <a:gd name="connsiteY1" fmla="*/ 9600 h 9855"/>
                      <a:gd name="connsiteX2" fmla="*/ 6169 w 11131"/>
                      <a:gd name="connsiteY2" fmla="*/ 7549 h 9855"/>
                      <a:gd name="connsiteX3" fmla="*/ 8008 w 11131"/>
                      <a:gd name="connsiteY3" fmla="*/ 4846 h 9855"/>
                      <a:gd name="connsiteX4" fmla="*/ 7834 w 11131"/>
                      <a:gd name="connsiteY4" fmla="*/ 3407 h 9855"/>
                      <a:gd name="connsiteX5" fmla="*/ 6358 w 11131"/>
                      <a:gd name="connsiteY5" fmla="*/ 3101 h 9855"/>
                      <a:gd name="connsiteX6" fmla="*/ 2216 w 11131"/>
                      <a:gd name="connsiteY6" fmla="*/ 5502 h 9855"/>
                      <a:gd name="connsiteX7" fmla="*/ 200 w 11131"/>
                      <a:gd name="connsiteY7" fmla="*/ 4966 h 9855"/>
                      <a:gd name="connsiteX8" fmla="*/ 737 w 11131"/>
                      <a:gd name="connsiteY8" fmla="*/ 2950 h 9855"/>
                      <a:gd name="connsiteX9" fmla="*/ 4879 w 11131"/>
                      <a:gd name="connsiteY9" fmla="*/ 549 h 9855"/>
                      <a:gd name="connsiteX10" fmla="*/ 9620 w 11131"/>
                      <a:gd name="connsiteY10" fmla="*/ 1044 h 9855"/>
                      <a:gd name="connsiteX11" fmla="*/ 10443 w 11131"/>
                      <a:gd name="connsiteY11" fmla="*/ 6505 h 9855"/>
                      <a:gd name="connsiteX12" fmla="*/ 8607 w 11131"/>
                      <a:gd name="connsiteY12" fmla="*/ 9205 h 9855"/>
                      <a:gd name="connsiteX13" fmla="*/ 7387 w 11131"/>
                      <a:gd name="connsiteY13" fmla="*/ 9852 h 98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1131" h="9855">
                        <a:moveTo>
                          <a:pt x="7390" y="9855"/>
                        </a:moveTo>
                        <a:cubicBezTo>
                          <a:pt x="7103" y="9855"/>
                          <a:pt x="6812" y="9773"/>
                          <a:pt x="6560" y="9600"/>
                        </a:cubicBezTo>
                        <a:cubicBezTo>
                          <a:pt x="5885" y="9139"/>
                          <a:pt x="5708" y="8224"/>
                          <a:pt x="6169" y="7549"/>
                        </a:cubicBezTo>
                        <a:lnTo>
                          <a:pt x="8008" y="4846"/>
                        </a:lnTo>
                        <a:cubicBezTo>
                          <a:pt x="8320" y="4392"/>
                          <a:pt x="8241" y="3773"/>
                          <a:pt x="7834" y="3407"/>
                        </a:cubicBezTo>
                        <a:cubicBezTo>
                          <a:pt x="7289" y="2912"/>
                          <a:pt x="6768" y="2865"/>
                          <a:pt x="6358" y="3101"/>
                        </a:cubicBezTo>
                        <a:lnTo>
                          <a:pt x="2216" y="5502"/>
                        </a:lnTo>
                        <a:cubicBezTo>
                          <a:pt x="1506" y="5909"/>
                          <a:pt x="610" y="5672"/>
                          <a:pt x="200" y="4966"/>
                        </a:cubicBezTo>
                        <a:cubicBezTo>
                          <a:pt x="-210" y="4262"/>
                          <a:pt x="30" y="3360"/>
                          <a:pt x="737" y="2950"/>
                        </a:cubicBezTo>
                        <a:lnTo>
                          <a:pt x="4879" y="549"/>
                        </a:lnTo>
                        <a:cubicBezTo>
                          <a:pt x="6402" y="-337"/>
                          <a:pt x="8301" y="-135"/>
                          <a:pt x="9620" y="1044"/>
                        </a:cubicBezTo>
                        <a:cubicBezTo>
                          <a:pt x="11308" y="2562"/>
                          <a:pt x="11582" y="4839"/>
                          <a:pt x="10443" y="6505"/>
                        </a:cubicBezTo>
                        <a:lnTo>
                          <a:pt x="8607" y="9205"/>
                        </a:lnTo>
                        <a:cubicBezTo>
                          <a:pt x="8320" y="9625"/>
                          <a:pt x="7860" y="9852"/>
                          <a:pt x="7387" y="9852"/>
                        </a:cubicBezTo>
                        <a:close/>
                      </a:path>
                    </a:pathLst>
                  </a:custGeom>
                  <a:solidFill>
                    <a:srgbClr val="282D3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7" name="Freihandform: Form 146">
                    <a:extLst>
                      <a:ext uri="{FF2B5EF4-FFF2-40B4-BE49-F238E27FC236}">
                        <a16:creationId xmlns:a16="http://schemas.microsoft.com/office/drawing/2014/main" id="{595C4926-2C33-5BBD-2E4C-8ADEEFEE1408}"/>
                      </a:ext>
                    </a:extLst>
                  </p:cNvPr>
                  <p:cNvSpPr/>
                  <p:nvPr/>
                </p:nvSpPr>
                <p:spPr>
                  <a:xfrm>
                    <a:off x="1016116" y="6969747"/>
                    <a:ext cx="26379" cy="88475"/>
                  </a:xfrm>
                  <a:custGeom>
                    <a:avLst/>
                    <a:gdLst>
                      <a:gd name="connsiteX0" fmla="*/ 11314 w 26379"/>
                      <a:gd name="connsiteY0" fmla="*/ 88475 h 88475"/>
                      <a:gd name="connsiteX1" fmla="*/ 3380 w 26379"/>
                      <a:gd name="connsiteY1" fmla="*/ 88475 h 88475"/>
                      <a:gd name="connsiteX2" fmla="*/ 295 w 26379"/>
                      <a:gd name="connsiteY2" fmla="*/ 85832 h 88475"/>
                      <a:gd name="connsiteX3" fmla="*/ 156 w 26379"/>
                      <a:gd name="connsiteY3" fmla="*/ 84939 h 88475"/>
                      <a:gd name="connsiteX4" fmla="*/ 301 w 26379"/>
                      <a:gd name="connsiteY4" fmla="*/ 80116 h 88475"/>
                      <a:gd name="connsiteX5" fmla="*/ 522 w 26379"/>
                      <a:gd name="connsiteY5" fmla="*/ 79103 h 88475"/>
                      <a:gd name="connsiteX6" fmla="*/ 4229 w 26379"/>
                      <a:gd name="connsiteY6" fmla="*/ 76718 h 88475"/>
                      <a:gd name="connsiteX7" fmla="*/ 12033 w 26379"/>
                      <a:gd name="connsiteY7" fmla="*/ 78396 h 88475"/>
                      <a:gd name="connsiteX8" fmla="*/ 12415 w 26379"/>
                      <a:gd name="connsiteY8" fmla="*/ 78078 h 88475"/>
                      <a:gd name="connsiteX9" fmla="*/ 12200 w 26379"/>
                      <a:gd name="connsiteY9" fmla="*/ 77687 h 88475"/>
                      <a:gd name="connsiteX10" fmla="*/ 11945 w 26379"/>
                      <a:gd name="connsiteY10" fmla="*/ 77488 h 88475"/>
                      <a:gd name="connsiteX11" fmla="*/ 2550 w 26379"/>
                      <a:gd name="connsiteY11" fmla="*/ 61257 h 88475"/>
                      <a:gd name="connsiteX12" fmla="*/ 2383 w 26379"/>
                      <a:gd name="connsiteY12" fmla="*/ 58699 h 88475"/>
                      <a:gd name="connsiteX13" fmla="*/ 3758 w 26379"/>
                      <a:gd name="connsiteY13" fmla="*/ 57131 h 88475"/>
                      <a:gd name="connsiteX14" fmla="*/ 5329 w 26379"/>
                      <a:gd name="connsiteY14" fmla="*/ 58506 h 88475"/>
                      <a:gd name="connsiteX15" fmla="*/ 5497 w 26379"/>
                      <a:gd name="connsiteY15" fmla="*/ 61065 h 88475"/>
                      <a:gd name="connsiteX16" fmla="*/ 13778 w 26379"/>
                      <a:gd name="connsiteY16" fmla="*/ 75176 h 88475"/>
                      <a:gd name="connsiteX17" fmla="*/ 14030 w 26379"/>
                      <a:gd name="connsiteY17" fmla="*/ 75374 h 88475"/>
                      <a:gd name="connsiteX18" fmla="*/ 15333 w 26379"/>
                      <a:gd name="connsiteY18" fmla="*/ 78541 h 88475"/>
                      <a:gd name="connsiteX19" fmla="*/ 13970 w 26379"/>
                      <a:gd name="connsiteY19" fmla="*/ 80740 h 88475"/>
                      <a:gd name="connsiteX20" fmla="*/ 11453 w 26379"/>
                      <a:gd name="connsiteY20" fmla="*/ 81289 h 88475"/>
                      <a:gd name="connsiteX21" fmla="*/ 3613 w 26379"/>
                      <a:gd name="connsiteY21" fmla="*/ 79605 h 88475"/>
                      <a:gd name="connsiteX22" fmla="*/ 3187 w 26379"/>
                      <a:gd name="connsiteY22" fmla="*/ 80747 h 88475"/>
                      <a:gd name="connsiteX23" fmla="*/ 3074 w 26379"/>
                      <a:gd name="connsiteY23" fmla="*/ 84491 h 88475"/>
                      <a:gd name="connsiteX24" fmla="*/ 3213 w 26379"/>
                      <a:gd name="connsiteY24" fmla="*/ 85384 h 88475"/>
                      <a:gd name="connsiteX25" fmla="*/ 11317 w 26379"/>
                      <a:gd name="connsiteY25" fmla="*/ 85529 h 88475"/>
                      <a:gd name="connsiteX26" fmla="*/ 19636 w 26379"/>
                      <a:gd name="connsiteY26" fmla="*/ 83122 h 88475"/>
                      <a:gd name="connsiteX27" fmla="*/ 20648 w 26379"/>
                      <a:gd name="connsiteY27" fmla="*/ 82485 h 88475"/>
                      <a:gd name="connsiteX28" fmla="*/ 22368 w 26379"/>
                      <a:gd name="connsiteY28" fmla="*/ 80914 h 88475"/>
                      <a:gd name="connsiteX29" fmla="*/ 23071 w 26379"/>
                      <a:gd name="connsiteY29" fmla="*/ 75560 h 88475"/>
                      <a:gd name="connsiteX30" fmla="*/ 18866 w 26379"/>
                      <a:gd name="connsiteY30" fmla="*/ 64384 h 88475"/>
                      <a:gd name="connsiteX31" fmla="*/ 17547 w 26379"/>
                      <a:gd name="connsiteY31" fmla="*/ 54658 h 88475"/>
                      <a:gd name="connsiteX32" fmla="*/ 18330 w 26379"/>
                      <a:gd name="connsiteY32" fmla="*/ 53484 h 88475"/>
                      <a:gd name="connsiteX33" fmla="*/ 19740 w 26379"/>
                      <a:gd name="connsiteY33" fmla="*/ 53503 h 88475"/>
                      <a:gd name="connsiteX34" fmla="*/ 21424 w 26379"/>
                      <a:gd name="connsiteY34" fmla="*/ 54450 h 88475"/>
                      <a:gd name="connsiteX35" fmla="*/ 21588 w 26379"/>
                      <a:gd name="connsiteY35" fmla="*/ 52907 h 88475"/>
                      <a:gd name="connsiteX36" fmla="*/ 19891 w 26379"/>
                      <a:gd name="connsiteY36" fmla="*/ 51134 h 88475"/>
                      <a:gd name="connsiteX37" fmla="*/ 17345 w 26379"/>
                      <a:gd name="connsiteY37" fmla="*/ 45935 h 88475"/>
                      <a:gd name="connsiteX38" fmla="*/ 16623 w 26379"/>
                      <a:gd name="connsiteY38" fmla="*/ 42348 h 88475"/>
                      <a:gd name="connsiteX39" fmla="*/ 15689 w 26379"/>
                      <a:gd name="connsiteY39" fmla="*/ 38528 h 88475"/>
                      <a:gd name="connsiteX40" fmla="*/ 15967 w 26379"/>
                      <a:gd name="connsiteY40" fmla="*/ 28061 h 88475"/>
                      <a:gd name="connsiteX41" fmla="*/ 16320 w 26379"/>
                      <a:gd name="connsiteY41" fmla="*/ 26885 h 88475"/>
                      <a:gd name="connsiteX42" fmla="*/ 16838 w 26379"/>
                      <a:gd name="connsiteY42" fmla="*/ 21001 h 88475"/>
                      <a:gd name="connsiteX43" fmla="*/ 14834 w 26379"/>
                      <a:gd name="connsiteY43" fmla="*/ 15152 h 88475"/>
                      <a:gd name="connsiteX44" fmla="*/ 14207 w 26379"/>
                      <a:gd name="connsiteY44" fmla="*/ 9073 h 88475"/>
                      <a:gd name="connsiteX45" fmla="*/ 14853 w 26379"/>
                      <a:gd name="connsiteY45" fmla="*/ 7364 h 88475"/>
                      <a:gd name="connsiteX46" fmla="*/ 15052 w 26379"/>
                      <a:gd name="connsiteY46" fmla="*/ 1903 h 88475"/>
                      <a:gd name="connsiteX47" fmla="*/ 16036 w 26379"/>
                      <a:gd name="connsiteY47" fmla="*/ 67 h 88475"/>
                      <a:gd name="connsiteX48" fmla="*/ 17872 w 26379"/>
                      <a:gd name="connsiteY48" fmla="*/ 1054 h 88475"/>
                      <a:gd name="connsiteX49" fmla="*/ 17610 w 26379"/>
                      <a:gd name="connsiteY49" fmla="*/ 8411 h 88475"/>
                      <a:gd name="connsiteX50" fmla="*/ 16980 w 26379"/>
                      <a:gd name="connsiteY50" fmla="*/ 10077 h 88475"/>
                      <a:gd name="connsiteX51" fmla="*/ 17368 w 26379"/>
                      <a:gd name="connsiteY51" fmla="*/ 13648 h 88475"/>
                      <a:gd name="connsiteX52" fmla="*/ 19768 w 26379"/>
                      <a:gd name="connsiteY52" fmla="*/ 20660 h 88475"/>
                      <a:gd name="connsiteX53" fmla="*/ 19144 w 26379"/>
                      <a:gd name="connsiteY53" fmla="*/ 27733 h 88475"/>
                      <a:gd name="connsiteX54" fmla="*/ 18787 w 26379"/>
                      <a:gd name="connsiteY54" fmla="*/ 28910 h 88475"/>
                      <a:gd name="connsiteX55" fmla="*/ 18554 w 26379"/>
                      <a:gd name="connsiteY55" fmla="*/ 37828 h 88475"/>
                      <a:gd name="connsiteX56" fmla="*/ 19487 w 26379"/>
                      <a:gd name="connsiteY56" fmla="*/ 41651 h 88475"/>
                      <a:gd name="connsiteX57" fmla="*/ 20257 w 26379"/>
                      <a:gd name="connsiteY57" fmla="*/ 45459 h 88475"/>
                      <a:gd name="connsiteX58" fmla="*/ 22036 w 26379"/>
                      <a:gd name="connsiteY58" fmla="*/ 49112 h 88475"/>
                      <a:gd name="connsiteX59" fmla="*/ 23746 w 26379"/>
                      <a:gd name="connsiteY59" fmla="*/ 50929 h 88475"/>
                      <a:gd name="connsiteX60" fmla="*/ 24500 w 26379"/>
                      <a:gd name="connsiteY60" fmla="*/ 53358 h 88475"/>
                      <a:gd name="connsiteX61" fmla="*/ 24260 w 26379"/>
                      <a:gd name="connsiteY61" fmla="*/ 54929 h 88475"/>
                      <a:gd name="connsiteX62" fmla="*/ 22674 w 26379"/>
                      <a:gd name="connsiteY62" fmla="*/ 57096 h 88475"/>
                      <a:gd name="connsiteX63" fmla="*/ 20415 w 26379"/>
                      <a:gd name="connsiteY63" fmla="*/ 57223 h 88475"/>
                      <a:gd name="connsiteX64" fmla="*/ 21623 w 26379"/>
                      <a:gd name="connsiteY64" fmla="*/ 63339 h 88475"/>
                      <a:gd name="connsiteX65" fmla="*/ 25828 w 26379"/>
                      <a:gd name="connsiteY65" fmla="*/ 74516 h 88475"/>
                      <a:gd name="connsiteX66" fmla="*/ 24781 w 26379"/>
                      <a:gd name="connsiteY66" fmla="*/ 82601 h 88475"/>
                      <a:gd name="connsiteX67" fmla="*/ 22219 w 26379"/>
                      <a:gd name="connsiteY67" fmla="*/ 84971 h 88475"/>
                      <a:gd name="connsiteX68" fmla="*/ 21207 w 26379"/>
                      <a:gd name="connsiteY68" fmla="*/ 85611 h 88475"/>
                      <a:gd name="connsiteX69" fmla="*/ 11314 w 26379"/>
                      <a:gd name="connsiteY69" fmla="*/ 88472 h 884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</a:cxnLst>
                    <a:rect l="l" t="t" r="r" b="b"/>
                    <a:pathLst>
                      <a:path w="26379" h="88475">
                        <a:moveTo>
                          <a:pt x="11314" y="88475"/>
                        </a:moveTo>
                        <a:lnTo>
                          <a:pt x="3380" y="88475"/>
                        </a:lnTo>
                        <a:cubicBezTo>
                          <a:pt x="1828" y="88475"/>
                          <a:pt x="531" y="87362"/>
                          <a:pt x="295" y="85832"/>
                        </a:cubicBezTo>
                        <a:lnTo>
                          <a:pt x="156" y="84939"/>
                        </a:lnTo>
                        <a:cubicBezTo>
                          <a:pt x="-93" y="83327"/>
                          <a:pt x="-43" y="81706"/>
                          <a:pt x="301" y="80116"/>
                        </a:cubicBezTo>
                        <a:lnTo>
                          <a:pt x="522" y="79103"/>
                        </a:lnTo>
                        <a:cubicBezTo>
                          <a:pt x="891" y="77425"/>
                          <a:pt x="2563" y="76349"/>
                          <a:pt x="4229" y="76718"/>
                        </a:cubicBezTo>
                        <a:lnTo>
                          <a:pt x="12033" y="78396"/>
                        </a:lnTo>
                        <a:lnTo>
                          <a:pt x="12415" y="78078"/>
                        </a:lnTo>
                        <a:cubicBezTo>
                          <a:pt x="12431" y="77983"/>
                          <a:pt x="12358" y="77816"/>
                          <a:pt x="12200" y="77687"/>
                        </a:cubicBezTo>
                        <a:cubicBezTo>
                          <a:pt x="12200" y="77687"/>
                          <a:pt x="11948" y="77488"/>
                          <a:pt x="11945" y="77488"/>
                        </a:cubicBezTo>
                        <a:cubicBezTo>
                          <a:pt x="6039" y="72838"/>
                          <a:pt x="2964" y="67529"/>
                          <a:pt x="2550" y="61257"/>
                        </a:cubicBezTo>
                        <a:lnTo>
                          <a:pt x="2383" y="58699"/>
                        </a:lnTo>
                        <a:cubicBezTo>
                          <a:pt x="2329" y="57885"/>
                          <a:pt x="2945" y="57185"/>
                          <a:pt x="3758" y="57131"/>
                        </a:cubicBezTo>
                        <a:cubicBezTo>
                          <a:pt x="4601" y="57040"/>
                          <a:pt x="5273" y="57693"/>
                          <a:pt x="5329" y="58506"/>
                        </a:cubicBezTo>
                        <a:lnTo>
                          <a:pt x="5497" y="61065"/>
                        </a:lnTo>
                        <a:cubicBezTo>
                          <a:pt x="5856" y="66526"/>
                          <a:pt x="8487" y="71011"/>
                          <a:pt x="13778" y="75176"/>
                        </a:cubicBezTo>
                        <a:cubicBezTo>
                          <a:pt x="13778" y="75176"/>
                          <a:pt x="14027" y="75371"/>
                          <a:pt x="14030" y="75374"/>
                        </a:cubicBezTo>
                        <a:cubicBezTo>
                          <a:pt x="15017" y="76150"/>
                          <a:pt x="15522" y="77365"/>
                          <a:pt x="15333" y="78541"/>
                        </a:cubicBezTo>
                        <a:cubicBezTo>
                          <a:pt x="15191" y="79441"/>
                          <a:pt x="14708" y="80220"/>
                          <a:pt x="13970" y="80740"/>
                        </a:cubicBezTo>
                        <a:cubicBezTo>
                          <a:pt x="13248" y="81251"/>
                          <a:pt x="12333" y="81453"/>
                          <a:pt x="11453" y="81289"/>
                        </a:cubicBezTo>
                        <a:lnTo>
                          <a:pt x="3613" y="79605"/>
                        </a:lnTo>
                        <a:lnTo>
                          <a:pt x="3187" y="80747"/>
                        </a:lnTo>
                        <a:cubicBezTo>
                          <a:pt x="2919" y="81980"/>
                          <a:pt x="2881" y="83239"/>
                          <a:pt x="3074" y="84491"/>
                        </a:cubicBezTo>
                        <a:lnTo>
                          <a:pt x="3213" y="85384"/>
                        </a:lnTo>
                        <a:lnTo>
                          <a:pt x="11317" y="85529"/>
                        </a:lnTo>
                        <a:cubicBezTo>
                          <a:pt x="14270" y="85529"/>
                          <a:pt x="17144" y="84696"/>
                          <a:pt x="19636" y="83122"/>
                        </a:cubicBezTo>
                        <a:lnTo>
                          <a:pt x="20648" y="82485"/>
                        </a:lnTo>
                        <a:cubicBezTo>
                          <a:pt x="21383" y="82018"/>
                          <a:pt x="21964" y="81488"/>
                          <a:pt x="22368" y="80914"/>
                        </a:cubicBezTo>
                        <a:cubicBezTo>
                          <a:pt x="23475" y="79336"/>
                          <a:pt x="23740" y="77333"/>
                          <a:pt x="23071" y="75560"/>
                        </a:cubicBezTo>
                        <a:lnTo>
                          <a:pt x="18866" y="64384"/>
                        </a:lnTo>
                        <a:cubicBezTo>
                          <a:pt x="17708" y="61311"/>
                          <a:pt x="17251" y="57948"/>
                          <a:pt x="17547" y="54658"/>
                        </a:cubicBezTo>
                        <a:cubicBezTo>
                          <a:pt x="17595" y="54159"/>
                          <a:pt x="17885" y="53718"/>
                          <a:pt x="18330" y="53484"/>
                        </a:cubicBezTo>
                        <a:cubicBezTo>
                          <a:pt x="18771" y="53248"/>
                          <a:pt x="19301" y="53260"/>
                          <a:pt x="19740" y="53503"/>
                        </a:cubicBezTo>
                        <a:lnTo>
                          <a:pt x="21424" y="54450"/>
                        </a:lnTo>
                        <a:lnTo>
                          <a:pt x="21588" y="52907"/>
                        </a:lnTo>
                        <a:lnTo>
                          <a:pt x="19891" y="51134"/>
                        </a:lnTo>
                        <a:cubicBezTo>
                          <a:pt x="18547" y="49705"/>
                          <a:pt x="17667" y="47907"/>
                          <a:pt x="17345" y="45935"/>
                        </a:cubicBezTo>
                        <a:cubicBezTo>
                          <a:pt x="17150" y="44733"/>
                          <a:pt x="16907" y="43538"/>
                          <a:pt x="16623" y="42348"/>
                        </a:cubicBezTo>
                        <a:lnTo>
                          <a:pt x="15689" y="38528"/>
                        </a:lnTo>
                        <a:cubicBezTo>
                          <a:pt x="14847" y="35080"/>
                          <a:pt x="14945" y="31459"/>
                          <a:pt x="15967" y="28061"/>
                        </a:cubicBezTo>
                        <a:lnTo>
                          <a:pt x="16320" y="26885"/>
                        </a:lnTo>
                        <a:cubicBezTo>
                          <a:pt x="16894" y="24966"/>
                          <a:pt x="17068" y="22985"/>
                          <a:pt x="16838" y="21001"/>
                        </a:cubicBezTo>
                        <a:cubicBezTo>
                          <a:pt x="16601" y="18957"/>
                          <a:pt x="15926" y="16988"/>
                          <a:pt x="14834" y="15152"/>
                        </a:cubicBezTo>
                        <a:cubicBezTo>
                          <a:pt x="13740" y="13310"/>
                          <a:pt x="13513" y="11092"/>
                          <a:pt x="14207" y="9073"/>
                        </a:cubicBezTo>
                        <a:lnTo>
                          <a:pt x="14853" y="7364"/>
                        </a:lnTo>
                        <a:cubicBezTo>
                          <a:pt x="15525" y="5597"/>
                          <a:pt x="15595" y="3707"/>
                          <a:pt x="15052" y="1903"/>
                        </a:cubicBezTo>
                        <a:cubicBezTo>
                          <a:pt x="14815" y="1124"/>
                          <a:pt x="15257" y="300"/>
                          <a:pt x="16036" y="67"/>
                        </a:cubicBezTo>
                        <a:cubicBezTo>
                          <a:pt x="16819" y="-179"/>
                          <a:pt x="17642" y="275"/>
                          <a:pt x="17872" y="1054"/>
                        </a:cubicBezTo>
                        <a:cubicBezTo>
                          <a:pt x="18604" y="3487"/>
                          <a:pt x="18513" y="6029"/>
                          <a:pt x="17610" y="8411"/>
                        </a:cubicBezTo>
                        <a:lnTo>
                          <a:pt x="16980" y="10077"/>
                        </a:lnTo>
                        <a:cubicBezTo>
                          <a:pt x="16582" y="11234"/>
                          <a:pt x="16718" y="12550"/>
                          <a:pt x="17368" y="13648"/>
                        </a:cubicBezTo>
                        <a:cubicBezTo>
                          <a:pt x="18670" y="15840"/>
                          <a:pt x="19481" y="18200"/>
                          <a:pt x="19768" y="20660"/>
                        </a:cubicBezTo>
                        <a:cubicBezTo>
                          <a:pt x="20043" y="23045"/>
                          <a:pt x="19834" y="25424"/>
                          <a:pt x="19144" y="27733"/>
                        </a:cubicBezTo>
                        <a:lnTo>
                          <a:pt x="18787" y="28910"/>
                        </a:lnTo>
                        <a:cubicBezTo>
                          <a:pt x="17920" y="31806"/>
                          <a:pt x="17834" y="34891"/>
                          <a:pt x="18554" y="37828"/>
                        </a:cubicBezTo>
                        <a:lnTo>
                          <a:pt x="19487" y="41651"/>
                        </a:lnTo>
                        <a:cubicBezTo>
                          <a:pt x="19793" y="42913"/>
                          <a:pt x="20049" y="44184"/>
                          <a:pt x="20257" y="45459"/>
                        </a:cubicBezTo>
                        <a:cubicBezTo>
                          <a:pt x="20481" y="46850"/>
                          <a:pt x="21099" y="48115"/>
                          <a:pt x="22036" y="49112"/>
                        </a:cubicBezTo>
                        <a:lnTo>
                          <a:pt x="23746" y="50929"/>
                        </a:lnTo>
                        <a:cubicBezTo>
                          <a:pt x="24364" y="51588"/>
                          <a:pt x="24639" y="52475"/>
                          <a:pt x="24500" y="53358"/>
                        </a:cubicBezTo>
                        <a:lnTo>
                          <a:pt x="24260" y="54929"/>
                        </a:lnTo>
                        <a:cubicBezTo>
                          <a:pt x="24122" y="55866"/>
                          <a:pt x="23528" y="56677"/>
                          <a:pt x="22674" y="57096"/>
                        </a:cubicBezTo>
                        <a:cubicBezTo>
                          <a:pt x="21961" y="57443"/>
                          <a:pt x="21150" y="57481"/>
                          <a:pt x="20415" y="57223"/>
                        </a:cubicBezTo>
                        <a:cubicBezTo>
                          <a:pt x="20481" y="59314"/>
                          <a:pt x="20888" y="61396"/>
                          <a:pt x="21623" y="63339"/>
                        </a:cubicBezTo>
                        <a:lnTo>
                          <a:pt x="25828" y="74516"/>
                        </a:lnTo>
                        <a:cubicBezTo>
                          <a:pt x="26838" y="77201"/>
                          <a:pt x="26447" y="80223"/>
                          <a:pt x="24781" y="82601"/>
                        </a:cubicBezTo>
                        <a:cubicBezTo>
                          <a:pt x="24153" y="83497"/>
                          <a:pt x="23289" y="84296"/>
                          <a:pt x="22219" y="84971"/>
                        </a:cubicBezTo>
                        <a:lnTo>
                          <a:pt x="21207" y="85611"/>
                        </a:lnTo>
                        <a:cubicBezTo>
                          <a:pt x="18245" y="87482"/>
                          <a:pt x="14825" y="88472"/>
                          <a:pt x="11314" y="88472"/>
                        </a:cubicBezTo>
                        <a:close/>
                      </a:path>
                    </a:pathLst>
                  </a:custGeom>
                  <a:solidFill>
                    <a:srgbClr val="282D3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27" name="Gruppieren 226">
            <a:extLst>
              <a:ext uri="{FF2B5EF4-FFF2-40B4-BE49-F238E27FC236}">
                <a16:creationId xmlns:a16="http://schemas.microsoft.com/office/drawing/2014/main" id="{B43A9B21-FA16-1744-EBC5-8A8E1D757862}"/>
              </a:ext>
            </a:extLst>
          </p:cNvPr>
          <p:cNvGrpSpPr/>
          <p:nvPr/>
        </p:nvGrpSpPr>
        <p:grpSpPr>
          <a:xfrm>
            <a:off x="335360" y="3054896"/>
            <a:ext cx="10972545" cy="492443"/>
            <a:chOff x="401521" y="3092996"/>
            <a:chExt cx="10972545" cy="492443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1822A03D-54E2-FC56-F848-BBC80249FA96}"/>
                </a:ext>
              </a:extLst>
            </p:cNvPr>
            <p:cNvSpPr txBox="1"/>
            <p:nvPr/>
          </p:nvSpPr>
          <p:spPr>
            <a:xfrm>
              <a:off x="1336627" y="3092996"/>
              <a:ext cx="10037439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Bef>
                  <a:spcPts val="400"/>
                </a:spcBef>
                <a:spcAft>
                  <a:spcPts val="400"/>
                </a:spcAft>
                <a:buClr>
                  <a:schemeClr val="accent2"/>
                </a:buClr>
              </a:pPr>
              <a:r>
                <a:rPr lang="de-DE" sz="1600" b="1" dirty="0">
                  <a:latin typeface="DB Neo Office" pitchFamily="2" charset="0"/>
                </a:rPr>
                <a:t>Bis zu 180.000 Fahrgäste in rund 600 S-Bahnfahrten täglich. </a:t>
              </a:r>
              <a:r>
                <a:rPr lang="de-DE" sz="1600" dirty="0">
                  <a:latin typeface="DB Neo Office" pitchFamily="2" charset="0"/>
                </a:rPr>
                <a:t>Das sind rund 10% der für 2030 prognostizierten S-Bahn-Fahrgäste Berlins.</a:t>
              </a:r>
              <a:r>
                <a:rPr lang="de-DE" sz="1600" baseline="30000" dirty="0">
                  <a:latin typeface="DB Neo Office" pitchFamily="2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</a:t>
              </a:r>
              <a:r>
                <a:rPr lang="de-DE" sz="1600" dirty="0">
                  <a:latin typeface="DB Neo Office" pitchFamily="2" charset="0"/>
                </a:rPr>
                <a:t> </a:t>
              </a:r>
            </a:p>
          </p:txBody>
        </p:sp>
        <p:grpSp>
          <p:nvGrpSpPr>
            <p:cNvPr id="161" name="Gruppieren 160">
              <a:extLst>
                <a:ext uri="{FF2B5EF4-FFF2-40B4-BE49-F238E27FC236}">
                  <a16:creationId xmlns:a16="http://schemas.microsoft.com/office/drawing/2014/main" id="{2D82AAA3-CDC3-2628-62D3-EBB5C72E1087}"/>
                </a:ext>
              </a:extLst>
            </p:cNvPr>
            <p:cNvGrpSpPr/>
            <p:nvPr/>
          </p:nvGrpSpPr>
          <p:grpSpPr>
            <a:xfrm>
              <a:off x="401521" y="3108474"/>
              <a:ext cx="795452" cy="453574"/>
              <a:chOff x="748421" y="5636610"/>
              <a:chExt cx="478619" cy="272913"/>
            </a:xfrm>
          </p:grpSpPr>
          <p:sp>
            <p:nvSpPr>
              <p:cNvPr id="162" name="Freihandform: Form 161">
                <a:extLst>
                  <a:ext uri="{FF2B5EF4-FFF2-40B4-BE49-F238E27FC236}">
                    <a16:creationId xmlns:a16="http://schemas.microsoft.com/office/drawing/2014/main" id="{9F580EBA-01DE-12C1-0B72-8897B5349A11}"/>
                  </a:ext>
                </a:extLst>
              </p:cNvPr>
              <p:cNvSpPr/>
              <p:nvPr/>
            </p:nvSpPr>
            <p:spPr>
              <a:xfrm>
                <a:off x="748421" y="5636610"/>
                <a:ext cx="213459" cy="272913"/>
              </a:xfrm>
              <a:custGeom>
                <a:avLst/>
                <a:gdLst>
                  <a:gd name="connsiteX0" fmla="*/ 173878 w 213459"/>
                  <a:gd name="connsiteY0" fmla="*/ 3 h 272913"/>
                  <a:gd name="connsiteX1" fmla="*/ 213459 w 213459"/>
                  <a:gd name="connsiteY1" fmla="*/ 43141 h 272913"/>
                  <a:gd name="connsiteX2" fmla="*/ 213459 w 213459"/>
                  <a:gd name="connsiteY2" fmla="*/ 217320 h 272913"/>
                  <a:gd name="connsiteX3" fmla="*/ 162763 w 213459"/>
                  <a:gd name="connsiteY3" fmla="*/ 272908 h 272913"/>
                  <a:gd name="connsiteX4" fmla="*/ 50696 w 213459"/>
                  <a:gd name="connsiteY4" fmla="*/ 272908 h 272913"/>
                  <a:gd name="connsiteX5" fmla="*/ 0 w 213459"/>
                  <a:gd name="connsiteY5" fmla="*/ 217320 h 272913"/>
                  <a:gd name="connsiteX6" fmla="*/ 0 w 213459"/>
                  <a:gd name="connsiteY6" fmla="*/ 43138 h 272913"/>
                  <a:gd name="connsiteX7" fmla="*/ 39581 w 213459"/>
                  <a:gd name="connsiteY7" fmla="*/ 0 h 272913"/>
                  <a:gd name="connsiteX8" fmla="*/ 173884 w 213459"/>
                  <a:gd name="connsiteY8" fmla="*/ 0 h 272913"/>
                  <a:gd name="connsiteX9" fmla="*/ 173878 w 213459"/>
                  <a:gd name="connsiteY9" fmla="*/ 0 h 272913"/>
                  <a:gd name="connsiteX10" fmla="*/ 106727 w 213459"/>
                  <a:gd name="connsiteY10" fmla="*/ 124523 h 272913"/>
                  <a:gd name="connsiteX11" fmla="*/ 89530 w 213459"/>
                  <a:gd name="connsiteY11" fmla="*/ 129414 h 272913"/>
                  <a:gd name="connsiteX12" fmla="*/ 84490 w 213459"/>
                  <a:gd name="connsiteY12" fmla="*/ 133270 h 272913"/>
                  <a:gd name="connsiteX13" fmla="*/ 77077 w 213459"/>
                  <a:gd name="connsiteY13" fmla="*/ 136382 h 272913"/>
                  <a:gd name="connsiteX14" fmla="*/ 68923 w 213459"/>
                  <a:gd name="connsiteY14" fmla="*/ 136234 h 272913"/>
                  <a:gd name="connsiteX15" fmla="*/ 12001 w 213459"/>
                  <a:gd name="connsiteY15" fmla="*/ 131637 h 272913"/>
                  <a:gd name="connsiteX16" fmla="*/ 12001 w 213459"/>
                  <a:gd name="connsiteY16" fmla="*/ 217170 h 272913"/>
                  <a:gd name="connsiteX17" fmla="*/ 50841 w 213459"/>
                  <a:gd name="connsiteY17" fmla="*/ 260751 h 272913"/>
                  <a:gd name="connsiteX18" fmla="*/ 162908 w 213459"/>
                  <a:gd name="connsiteY18" fmla="*/ 260751 h 272913"/>
                  <a:gd name="connsiteX19" fmla="*/ 201748 w 213459"/>
                  <a:gd name="connsiteY19" fmla="*/ 217019 h 272913"/>
                  <a:gd name="connsiteX20" fmla="*/ 201748 w 213459"/>
                  <a:gd name="connsiteY20" fmla="*/ 131339 h 272913"/>
                  <a:gd name="connsiteX21" fmla="*/ 147642 w 213459"/>
                  <a:gd name="connsiteY21" fmla="*/ 136084 h 272913"/>
                  <a:gd name="connsiteX22" fmla="*/ 136524 w 213459"/>
                  <a:gd name="connsiteY22" fmla="*/ 136231 h 272913"/>
                  <a:gd name="connsiteX23" fmla="*/ 130150 w 213459"/>
                  <a:gd name="connsiteY23" fmla="*/ 133861 h 272913"/>
                  <a:gd name="connsiteX24" fmla="*/ 124071 w 213459"/>
                  <a:gd name="connsiteY24" fmla="*/ 129264 h 272913"/>
                  <a:gd name="connsiteX25" fmla="*/ 106727 w 213459"/>
                  <a:gd name="connsiteY25" fmla="*/ 124520 h 272913"/>
                  <a:gd name="connsiteX26" fmla="*/ 106727 w 213459"/>
                  <a:gd name="connsiteY26" fmla="*/ 124520 h 272913"/>
                  <a:gd name="connsiteX27" fmla="*/ 59293 w 213459"/>
                  <a:gd name="connsiteY27" fmla="*/ 201606 h 272913"/>
                  <a:gd name="connsiteX28" fmla="*/ 77080 w 213459"/>
                  <a:gd name="connsiteY28" fmla="*/ 219393 h 272913"/>
                  <a:gd name="connsiteX29" fmla="*/ 59441 w 213459"/>
                  <a:gd name="connsiteY29" fmla="*/ 237180 h 272913"/>
                  <a:gd name="connsiteX30" fmla="*/ 41503 w 213459"/>
                  <a:gd name="connsiteY30" fmla="*/ 237180 h 272913"/>
                  <a:gd name="connsiteX31" fmla="*/ 23715 w 213459"/>
                  <a:gd name="connsiteY31" fmla="*/ 219393 h 272913"/>
                  <a:gd name="connsiteX32" fmla="*/ 41503 w 213459"/>
                  <a:gd name="connsiteY32" fmla="*/ 201606 h 272913"/>
                  <a:gd name="connsiteX33" fmla="*/ 59293 w 213459"/>
                  <a:gd name="connsiteY33" fmla="*/ 201606 h 272913"/>
                  <a:gd name="connsiteX34" fmla="*/ 166023 w 213459"/>
                  <a:gd name="connsiteY34" fmla="*/ 201606 h 272913"/>
                  <a:gd name="connsiteX35" fmla="*/ 183810 w 213459"/>
                  <a:gd name="connsiteY35" fmla="*/ 219393 h 272913"/>
                  <a:gd name="connsiteX36" fmla="*/ 166023 w 213459"/>
                  <a:gd name="connsiteY36" fmla="*/ 237180 h 272913"/>
                  <a:gd name="connsiteX37" fmla="*/ 148235 w 213459"/>
                  <a:gd name="connsiteY37" fmla="*/ 237180 h 272913"/>
                  <a:gd name="connsiteX38" fmla="*/ 130448 w 213459"/>
                  <a:gd name="connsiteY38" fmla="*/ 219393 h 272913"/>
                  <a:gd name="connsiteX39" fmla="*/ 148235 w 213459"/>
                  <a:gd name="connsiteY39" fmla="*/ 201606 h 272913"/>
                  <a:gd name="connsiteX40" fmla="*/ 166023 w 213459"/>
                  <a:gd name="connsiteY40" fmla="*/ 201606 h 272913"/>
                  <a:gd name="connsiteX41" fmla="*/ 59293 w 213459"/>
                  <a:gd name="connsiteY41" fmla="*/ 213465 h 272913"/>
                  <a:gd name="connsiteX42" fmla="*/ 41506 w 213459"/>
                  <a:gd name="connsiteY42" fmla="*/ 213465 h 272913"/>
                  <a:gd name="connsiteX43" fmla="*/ 35577 w 213459"/>
                  <a:gd name="connsiteY43" fmla="*/ 219393 h 272913"/>
                  <a:gd name="connsiteX44" fmla="*/ 41506 w 213459"/>
                  <a:gd name="connsiteY44" fmla="*/ 225321 h 272913"/>
                  <a:gd name="connsiteX45" fmla="*/ 59293 w 213459"/>
                  <a:gd name="connsiteY45" fmla="*/ 225321 h 272913"/>
                  <a:gd name="connsiteX46" fmla="*/ 65221 w 213459"/>
                  <a:gd name="connsiteY46" fmla="*/ 219393 h 272913"/>
                  <a:gd name="connsiteX47" fmla="*/ 59293 w 213459"/>
                  <a:gd name="connsiteY47" fmla="*/ 213465 h 272913"/>
                  <a:gd name="connsiteX48" fmla="*/ 59293 w 213459"/>
                  <a:gd name="connsiteY48" fmla="*/ 213465 h 272913"/>
                  <a:gd name="connsiteX49" fmla="*/ 166023 w 213459"/>
                  <a:gd name="connsiteY49" fmla="*/ 213465 h 272913"/>
                  <a:gd name="connsiteX50" fmla="*/ 148235 w 213459"/>
                  <a:gd name="connsiteY50" fmla="*/ 213465 h 272913"/>
                  <a:gd name="connsiteX51" fmla="*/ 142307 w 213459"/>
                  <a:gd name="connsiteY51" fmla="*/ 219393 h 272913"/>
                  <a:gd name="connsiteX52" fmla="*/ 148088 w 213459"/>
                  <a:gd name="connsiteY52" fmla="*/ 225321 h 272913"/>
                  <a:gd name="connsiteX53" fmla="*/ 166025 w 213459"/>
                  <a:gd name="connsiteY53" fmla="*/ 225321 h 272913"/>
                  <a:gd name="connsiteX54" fmla="*/ 171954 w 213459"/>
                  <a:gd name="connsiteY54" fmla="*/ 219393 h 272913"/>
                  <a:gd name="connsiteX55" fmla="*/ 166025 w 213459"/>
                  <a:gd name="connsiteY55" fmla="*/ 213465 h 272913"/>
                  <a:gd name="connsiteX56" fmla="*/ 166023 w 213459"/>
                  <a:gd name="connsiteY56" fmla="*/ 213465 h 272913"/>
                  <a:gd name="connsiteX57" fmla="*/ 106727 w 213459"/>
                  <a:gd name="connsiteY57" fmla="*/ 136382 h 272913"/>
                  <a:gd name="connsiteX58" fmla="*/ 124514 w 213459"/>
                  <a:gd name="connsiteY58" fmla="*/ 154169 h 272913"/>
                  <a:gd name="connsiteX59" fmla="*/ 106727 w 213459"/>
                  <a:gd name="connsiteY59" fmla="*/ 171956 h 272913"/>
                  <a:gd name="connsiteX60" fmla="*/ 88939 w 213459"/>
                  <a:gd name="connsiteY60" fmla="*/ 154169 h 272913"/>
                  <a:gd name="connsiteX61" fmla="*/ 106727 w 213459"/>
                  <a:gd name="connsiteY61" fmla="*/ 136382 h 272913"/>
                  <a:gd name="connsiteX62" fmla="*/ 106727 w 213459"/>
                  <a:gd name="connsiteY62" fmla="*/ 146756 h 272913"/>
                  <a:gd name="connsiteX63" fmla="*/ 99314 w 213459"/>
                  <a:gd name="connsiteY63" fmla="*/ 154169 h 272913"/>
                  <a:gd name="connsiteX64" fmla="*/ 106727 w 213459"/>
                  <a:gd name="connsiteY64" fmla="*/ 161582 h 272913"/>
                  <a:gd name="connsiteX65" fmla="*/ 114140 w 213459"/>
                  <a:gd name="connsiteY65" fmla="*/ 154169 h 272913"/>
                  <a:gd name="connsiteX66" fmla="*/ 106727 w 213459"/>
                  <a:gd name="connsiteY66" fmla="*/ 146756 h 272913"/>
                  <a:gd name="connsiteX67" fmla="*/ 173878 w 213459"/>
                  <a:gd name="connsiteY67" fmla="*/ 11862 h 272913"/>
                  <a:gd name="connsiteX68" fmla="*/ 39427 w 213459"/>
                  <a:gd name="connsiteY68" fmla="*/ 11862 h 272913"/>
                  <a:gd name="connsiteX69" fmla="*/ 11706 w 213459"/>
                  <a:gd name="connsiteY69" fmla="*/ 43141 h 272913"/>
                  <a:gd name="connsiteX70" fmla="*/ 11706 w 213459"/>
                  <a:gd name="connsiteY70" fmla="*/ 119631 h 272913"/>
                  <a:gd name="connsiteX71" fmla="*/ 66405 w 213459"/>
                  <a:gd name="connsiteY71" fmla="*/ 124375 h 272913"/>
                  <a:gd name="connsiteX72" fmla="*/ 76189 w 213459"/>
                  <a:gd name="connsiteY72" fmla="*/ 124523 h 272913"/>
                  <a:gd name="connsiteX73" fmla="*/ 82710 w 213459"/>
                  <a:gd name="connsiteY73" fmla="*/ 119631 h 272913"/>
                  <a:gd name="connsiteX74" fmla="*/ 106576 w 213459"/>
                  <a:gd name="connsiteY74" fmla="*/ 112663 h 272913"/>
                  <a:gd name="connsiteX75" fmla="*/ 130442 w 213459"/>
                  <a:gd name="connsiteY75" fmla="*/ 119631 h 272913"/>
                  <a:gd name="connsiteX76" fmla="*/ 136964 w 213459"/>
                  <a:gd name="connsiteY76" fmla="*/ 124523 h 272913"/>
                  <a:gd name="connsiteX77" fmla="*/ 144524 w 213459"/>
                  <a:gd name="connsiteY77" fmla="*/ 124523 h 272913"/>
                  <a:gd name="connsiteX78" fmla="*/ 201447 w 213459"/>
                  <a:gd name="connsiteY78" fmla="*/ 119483 h 272913"/>
                  <a:gd name="connsiteX79" fmla="*/ 201447 w 213459"/>
                  <a:gd name="connsiteY79" fmla="*/ 43141 h 272913"/>
                  <a:gd name="connsiteX80" fmla="*/ 173876 w 213459"/>
                  <a:gd name="connsiteY80" fmla="*/ 11862 h 272913"/>
                  <a:gd name="connsiteX81" fmla="*/ 173878 w 213459"/>
                  <a:gd name="connsiteY81" fmla="*/ 11862 h 272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213459" h="272913">
                    <a:moveTo>
                      <a:pt x="173878" y="3"/>
                    </a:moveTo>
                    <a:cubicBezTo>
                      <a:pt x="195374" y="3"/>
                      <a:pt x="213459" y="18977"/>
                      <a:pt x="213459" y="43141"/>
                    </a:cubicBezTo>
                    <a:lnTo>
                      <a:pt x="213459" y="217320"/>
                    </a:lnTo>
                    <a:cubicBezTo>
                      <a:pt x="213459" y="247265"/>
                      <a:pt x="191370" y="273354"/>
                      <a:pt x="162763" y="272908"/>
                    </a:cubicBezTo>
                    <a:lnTo>
                      <a:pt x="50696" y="272908"/>
                    </a:lnTo>
                    <a:cubicBezTo>
                      <a:pt x="22974" y="272908"/>
                      <a:pt x="0" y="248744"/>
                      <a:pt x="0" y="217320"/>
                    </a:cubicBezTo>
                    <a:lnTo>
                      <a:pt x="0" y="43138"/>
                    </a:lnTo>
                    <a:cubicBezTo>
                      <a:pt x="0" y="20013"/>
                      <a:pt x="17197" y="0"/>
                      <a:pt x="39581" y="0"/>
                    </a:cubicBezTo>
                    <a:lnTo>
                      <a:pt x="173884" y="0"/>
                    </a:lnTo>
                    <a:lnTo>
                      <a:pt x="173878" y="0"/>
                    </a:lnTo>
                    <a:close/>
                    <a:moveTo>
                      <a:pt x="106727" y="124523"/>
                    </a:moveTo>
                    <a:cubicBezTo>
                      <a:pt x="99464" y="124523"/>
                      <a:pt x="94274" y="126303"/>
                      <a:pt x="89530" y="129414"/>
                    </a:cubicBezTo>
                    <a:cubicBezTo>
                      <a:pt x="89084" y="129710"/>
                      <a:pt x="87455" y="130896"/>
                      <a:pt x="84490" y="133270"/>
                    </a:cubicBezTo>
                    <a:cubicBezTo>
                      <a:pt x="81822" y="135345"/>
                      <a:pt x="79894" y="136382"/>
                      <a:pt x="77077" y="136382"/>
                    </a:cubicBezTo>
                    <a:lnTo>
                      <a:pt x="68923" y="136234"/>
                    </a:lnTo>
                    <a:cubicBezTo>
                      <a:pt x="45353" y="136234"/>
                      <a:pt x="26379" y="134752"/>
                      <a:pt x="12001" y="131637"/>
                    </a:cubicBezTo>
                    <a:lnTo>
                      <a:pt x="12001" y="217170"/>
                    </a:lnTo>
                    <a:cubicBezTo>
                      <a:pt x="12001" y="240888"/>
                      <a:pt x="28900" y="260751"/>
                      <a:pt x="50841" y="260751"/>
                    </a:cubicBezTo>
                    <a:lnTo>
                      <a:pt x="162908" y="260751"/>
                    </a:lnTo>
                    <a:cubicBezTo>
                      <a:pt x="183810" y="260751"/>
                      <a:pt x="202338" y="240888"/>
                      <a:pt x="201748" y="217019"/>
                    </a:cubicBezTo>
                    <a:lnTo>
                      <a:pt x="201748" y="131339"/>
                    </a:lnTo>
                    <a:cubicBezTo>
                      <a:pt x="184403" y="134451"/>
                      <a:pt x="166318" y="136084"/>
                      <a:pt x="147642" y="136084"/>
                    </a:cubicBezTo>
                    <a:cubicBezTo>
                      <a:pt x="144232" y="136084"/>
                      <a:pt x="140527" y="136084"/>
                      <a:pt x="136524" y="136231"/>
                    </a:cubicBezTo>
                    <a:cubicBezTo>
                      <a:pt x="134153" y="136231"/>
                      <a:pt x="132373" y="135490"/>
                      <a:pt x="130150" y="133861"/>
                    </a:cubicBezTo>
                    <a:cubicBezTo>
                      <a:pt x="128222" y="132231"/>
                      <a:pt x="126147" y="130749"/>
                      <a:pt x="124071" y="129264"/>
                    </a:cubicBezTo>
                    <a:cubicBezTo>
                      <a:pt x="119179" y="126300"/>
                      <a:pt x="113992" y="124520"/>
                      <a:pt x="106727" y="124520"/>
                    </a:cubicBezTo>
                    <a:lnTo>
                      <a:pt x="106727" y="124520"/>
                    </a:lnTo>
                    <a:close/>
                    <a:moveTo>
                      <a:pt x="59293" y="201606"/>
                    </a:moveTo>
                    <a:cubicBezTo>
                      <a:pt x="69077" y="201606"/>
                      <a:pt x="77080" y="209609"/>
                      <a:pt x="77080" y="219393"/>
                    </a:cubicBezTo>
                    <a:cubicBezTo>
                      <a:pt x="77080" y="229177"/>
                      <a:pt x="69224" y="237180"/>
                      <a:pt x="59441" y="237180"/>
                    </a:cubicBezTo>
                    <a:lnTo>
                      <a:pt x="41503" y="237180"/>
                    </a:lnTo>
                    <a:cubicBezTo>
                      <a:pt x="31719" y="237180"/>
                      <a:pt x="23715" y="229177"/>
                      <a:pt x="23715" y="219393"/>
                    </a:cubicBezTo>
                    <a:cubicBezTo>
                      <a:pt x="23715" y="209609"/>
                      <a:pt x="31719" y="201606"/>
                      <a:pt x="41503" y="201606"/>
                    </a:cubicBezTo>
                    <a:lnTo>
                      <a:pt x="59293" y="201606"/>
                    </a:lnTo>
                    <a:close/>
                    <a:moveTo>
                      <a:pt x="166023" y="201606"/>
                    </a:moveTo>
                    <a:cubicBezTo>
                      <a:pt x="175806" y="201606"/>
                      <a:pt x="183810" y="209609"/>
                      <a:pt x="183810" y="219393"/>
                    </a:cubicBezTo>
                    <a:cubicBezTo>
                      <a:pt x="183810" y="228881"/>
                      <a:pt x="176102" y="237180"/>
                      <a:pt x="166023" y="237180"/>
                    </a:cubicBezTo>
                    <a:lnTo>
                      <a:pt x="148235" y="237180"/>
                    </a:lnTo>
                    <a:cubicBezTo>
                      <a:pt x="138451" y="237180"/>
                      <a:pt x="130448" y="229177"/>
                      <a:pt x="130448" y="219393"/>
                    </a:cubicBezTo>
                    <a:cubicBezTo>
                      <a:pt x="130448" y="209609"/>
                      <a:pt x="138451" y="201606"/>
                      <a:pt x="148235" y="201606"/>
                    </a:cubicBezTo>
                    <a:lnTo>
                      <a:pt x="166023" y="201606"/>
                    </a:lnTo>
                    <a:close/>
                    <a:moveTo>
                      <a:pt x="59293" y="213465"/>
                    </a:moveTo>
                    <a:lnTo>
                      <a:pt x="41506" y="213465"/>
                    </a:lnTo>
                    <a:cubicBezTo>
                      <a:pt x="38243" y="213465"/>
                      <a:pt x="35577" y="216134"/>
                      <a:pt x="35577" y="219393"/>
                    </a:cubicBezTo>
                    <a:cubicBezTo>
                      <a:pt x="35577" y="222505"/>
                      <a:pt x="37948" y="225321"/>
                      <a:pt x="41506" y="225321"/>
                    </a:cubicBezTo>
                    <a:lnTo>
                      <a:pt x="59293" y="225321"/>
                    </a:lnTo>
                    <a:cubicBezTo>
                      <a:pt x="62555" y="225321"/>
                      <a:pt x="65221" y="222652"/>
                      <a:pt x="65221" y="219393"/>
                    </a:cubicBezTo>
                    <a:cubicBezTo>
                      <a:pt x="65221" y="216281"/>
                      <a:pt x="62552" y="213612"/>
                      <a:pt x="59293" y="213465"/>
                    </a:cubicBezTo>
                    <a:lnTo>
                      <a:pt x="59293" y="213465"/>
                    </a:lnTo>
                    <a:close/>
                    <a:moveTo>
                      <a:pt x="166023" y="213465"/>
                    </a:moveTo>
                    <a:lnTo>
                      <a:pt x="148235" y="213465"/>
                    </a:lnTo>
                    <a:cubicBezTo>
                      <a:pt x="144973" y="213465"/>
                      <a:pt x="142307" y="216134"/>
                      <a:pt x="142307" y="219393"/>
                    </a:cubicBezTo>
                    <a:cubicBezTo>
                      <a:pt x="142307" y="222652"/>
                      <a:pt x="144828" y="225321"/>
                      <a:pt x="148088" y="225321"/>
                    </a:cubicBezTo>
                    <a:lnTo>
                      <a:pt x="166025" y="225321"/>
                    </a:lnTo>
                    <a:cubicBezTo>
                      <a:pt x="169288" y="225321"/>
                      <a:pt x="171954" y="222652"/>
                      <a:pt x="171954" y="219393"/>
                    </a:cubicBezTo>
                    <a:cubicBezTo>
                      <a:pt x="171954" y="216134"/>
                      <a:pt x="169285" y="213465"/>
                      <a:pt x="166025" y="213465"/>
                    </a:cubicBezTo>
                    <a:lnTo>
                      <a:pt x="166023" y="213465"/>
                    </a:lnTo>
                    <a:close/>
                    <a:moveTo>
                      <a:pt x="106727" y="136382"/>
                    </a:moveTo>
                    <a:cubicBezTo>
                      <a:pt x="116510" y="136382"/>
                      <a:pt x="124514" y="144385"/>
                      <a:pt x="124514" y="154169"/>
                    </a:cubicBezTo>
                    <a:cubicBezTo>
                      <a:pt x="124514" y="163953"/>
                      <a:pt x="116510" y="171956"/>
                      <a:pt x="106727" y="171956"/>
                    </a:cubicBezTo>
                    <a:cubicBezTo>
                      <a:pt x="96943" y="171956"/>
                      <a:pt x="88939" y="163953"/>
                      <a:pt x="88939" y="154169"/>
                    </a:cubicBezTo>
                    <a:cubicBezTo>
                      <a:pt x="88939" y="144385"/>
                      <a:pt x="96795" y="136382"/>
                      <a:pt x="106727" y="136382"/>
                    </a:cubicBezTo>
                    <a:close/>
                    <a:moveTo>
                      <a:pt x="106727" y="146756"/>
                    </a:moveTo>
                    <a:cubicBezTo>
                      <a:pt x="102576" y="146756"/>
                      <a:pt x="99314" y="149720"/>
                      <a:pt x="99314" y="154169"/>
                    </a:cubicBezTo>
                    <a:cubicBezTo>
                      <a:pt x="99314" y="158618"/>
                      <a:pt x="102576" y="161582"/>
                      <a:pt x="106727" y="161582"/>
                    </a:cubicBezTo>
                    <a:cubicBezTo>
                      <a:pt x="110878" y="161582"/>
                      <a:pt x="114140" y="158618"/>
                      <a:pt x="114140" y="154169"/>
                    </a:cubicBezTo>
                    <a:cubicBezTo>
                      <a:pt x="114140" y="149720"/>
                      <a:pt x="110878" y="146756"/>
                      <a:pt x="106727" y="146756"/>
                    </a:cubicBezTo>
                    <a:close/>
                    <a:moveTo>
                      <a:pt x="173878" y="11862"/>
                    </a:moveTo>
                    <a:lnTo>
                      <a:pt x="39427" y="11862"/>
                    </a:lnTo>
                    <a:cubicBezTo>
                      <a:pt x="24752" y="11862"/>
                      <a:pt x="11706" y="25056"/>
                      <a:pt x="11706" y="43141"/>
                    </a:cubicBezTo>
                    <a:lnTo>
                      <a:pt x="11706" y="119631"/>
                    </a:lnTo>
                    <a:cubicBezTo>
                      <a:pt x="26677" y="122893"/>
                      <a:pt x="44910" y="124523"/>
                      <a:pt x="66405" y="124375"/>
                    </a:cubicBezTo>
                    <a:lnTo>
                      <a:pt x="76189" y="124523"/>
                    </a:lnTo>
                    <a:cubicBezTo>
                      <a:pt x="78264" y="122893"/>
                      <a:pt x="80487" y="121260"/>
                      <a:pt x="82710" y="119631"/>
                    </a:cubicBezTo>
                    <a:cubicBezTo>
                      <a:pt x="89382" y="115185"/>
                      <a:pt x="96793" y="112663"/>
                      <a:pt x="106576" y="112663"/>
                    </a:cubicBezTo>
                    <a:cubicBezTo>
                      <a:pt x="116360" y="112663"/>
                      <a:pt x="123773" y="115185"/>
                      <a:pt x="130442" y="119631"/>
                    </a:cubicBezTo>
                    <a:cubicBezTo>
                      <a:pt x="130888" y="119926"/>
                      <a:pt x="133111" y="121558"/>
                      <a:pt x="136964" y="124523"/>
                    </a:cubicBezTo>
                    <a:lnTo>
                      <a:pt x="144524" y="124523"/>
                    </a:lnTo>
                    <a:cubicBezTo>
                      <a:pt x="162757" y="124523"/>
                      <a:pt x="181732" y="122893"/>
                      <a:pt x="201447" y="119483"/>
                    </a:cubicBezTo>
                    <a:lnTo>
                      <a:pt x="201447" y="43141"/>
                    </a:lnTo>
                    <a:cubicBezTo>
                      <a:pt x="201594" y="26242"/>
                      <a:pt x="190033" y="11862"/>
                      <a:pt x="173876" y="11862"/>
                    </a:cubicBezTo>
                    <a:lnTo>
                      <a:pt x="173878" y="11862"/>
                    </a:lnTo>
                    <a:close/>
                  </a:path>
                </a:pathLst>
              </a:custGeom>
              <a:solidFill>
                <a:srgbClr val="282D3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162">
                <a:extLst>
                  <a:ext uri="{FF2B5EF4-FFF2-40B4-BE49-F238E27FC236}">
                    <a16:creationId xmlns:a16="http://schemas.microsoft.com/office/drawing/2014/main" id="{B2F4063F-AA8C-D5C2-4DAB-52A61DFB6A2A}"/>
                  </a:ext>
                </a:extLst>
              </p:cNvPr>
              <p:cNvSpPr/>
              <p:nvPr/>
            </p:nvSpPr>
            <p:spPr>
              <a:xfrm>
                <a:off x="801488" y="5660334"/>
                <a:ext cx="106729" cy="11856"/>
              </a:xfrm>
              <a:custGeom>
                <a:avLst/>
                <a:gdLst>
                  <a:gd name="connsiteX0" fmla="*/ 100801 w 106729"/>
                  <a:gd name="connsiteY0" fmla="*/ 11856 h 11856"/>
                  <a:gd name="connsiteX1" fmla="*/ 5928 w 106729"/>
                  <a:gd name="connsiteY1" fmla="*/ 11856 h 11856"/>
                  <a:gd name="connsiteX2" fmla="*/ 0 w 106729"/>
                  <a:gd name="connsiteY2" fmla="*/ 5928 h 11856"/>
                  <a:gd name="connsiteX3" fmla="*/ 5928 w 106729"/>
                  <a:gd name="connsiteY3" fmla="*/ 0 h 11856"/>
                  <a:gd name="connsiteX4" fmla="*/ 100801 w 106729"/>
                  <a:gd name="connsiteY4" fmla="*/ 0 h 11856"/>
                  <a:gd name="connsiteX5" fmla="*/ 106730 w 106729"/>
                  <a:gd name="connsiteY5" fmla="*/ 5928 h 11856"/>
                  <a:gd name="connsiteX6" fmla="*/ 100801 w 106729"/>
                  <a:gd name="connsiteY6" fmla="*/ 11856 h 11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6729" h="11856">
                    <a:moveTo>
                      <a:pt x="100801" y="11856"/>
                    </a:moveTo>
                    <a:lnTo>
                      <a:pt x="5928" y="11856"/>
                    </a:lnTo>
                    <a:cubicBezTo>
                      <a:pt x="2666" y="11856"/>
                      <a:pt x="0" y="9188"/>
                      <a:pt x="0" y="5928"/>
                    </a:cubicBezTo>
                    <a:cubicBezTo>
                      <a:pt x="0" y="2669"/>
                      <a:pt x="2669" y="0"/>
                      <a:pt x="5928" y="0"/>
                    </a:cubicBezTo>
                    <a:lnTo>
                      <a:pt x="100801" y="0"/>
                    </a:lnTo>
                    <a:cubicBezTo>
                      <a:pt x="104064" y="0"/>
                      <a:pt x="106730" y="2669"/>
                      <a:pt x="106730" y="5928"/>
                    </a:cubicBezTo>
                    <a:cubicBezTo>
                      <a:pt x="106730" y="9188"/>
                      <a:pt x="104061" y="11856"/>
                      <a:pt x="100801" y="11856"/>
                    </a:cubicBezTo>
                    <a:close/>
                  </a:path>
                </a:pathLst>
              </a:custGeom>
              <a:solidFill>
                <a:srgbClr val="EC001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64" name="Grafik 13">
                <a:extLst>
                  <a:ext uri="{FF2B5EF4-FFF2-40B4-BE49-F238E27FC236}">
                    <a16:creationId xmlns:a16="http://schemas.microsoft.com/office/drawing/2014/main" id="{D5F83DB6-7CFA-11A9-BCD4-281C0E77CFA0}"/>
                  </a:ext>
                </a:extLst>
              </p:cNvPr>
              <p:cNvGrpSpPr/>
              <p:nvPr/>
            </p:nvGrpSpPr>
            <p:grpSpPr>
              <a:xfrm>
                <a:off x="989809" y="5662662"/>
                <a:ext cx="237231" cy="212820"/>
                <a:chOff x="989809" y="5649962"/>
                <a:chExt cx="237231" cy="212820"/>
              </a:xfrm>
              <a:solidFill>
                <a:srgbClr val="282D37"/>
              </a:solidFill>
            </p:grpSpPr>
            <p:sp>
              <p:nvSpPr>
                <p:cNvPr id="165" name="Freihandform: Form 164">
                  <a:extLst>
                    <a:ext uri="{FF2B5EF4-FFF2-40B4-BE49-F238E27FC236}">
                      <a16:creationId xmlns:a16="http://schemas.microsoft.com/office/drawing/2014/main" id="{A93B15B0-A64D-8A00-8759-116B4535F836}"/>
                    </a:ext>
                  </a:extLst>
                </p:cNvPr>
                <p:cNvSpPr/>
                <p:nvPr/>
              </p:nvSpPr>
              <p:spPr>
                <a:xfrm>
                  <a:off x="1064263" y="5650854"/>
                  <a:ext cx="44481" cy="44483"/>
                </a:xfrm>
                <a:custGeom>
                  <a:avLst/>
                  <a:gdLst>
                    <a:gd name="connsiteX0" fmla="*/ 22242 w 44481"/>
                    <a:gd name="connsiteY0" fmla="*/ 44484 h 44483"/>
                    <a:gd name="connsiteX1" fmla="*/ 0 w 44481"/>
                    <a:gd name="connsiteY1" fmla="*/ 22242 h 44483"/>
                    <a:gd name="connsiteX2" fmla="*/ 22242 w 44481"/>
                    <a:gd name="connsiteY2" fmla="*/ 0 h 44483"/>
                    <a:gd name="connsiteX3" fmla="*/ 44481 w 44481"/>
                    <a:gd name="connsiteY3" fmla="*/ 22242 h 44483"/>
                    <a:gd name="connsiteX4" fmla="*/ 22242 w 44481"/>
                    <a:gd name="connsiteY4" fmla="*/ 44484 h 44483"/>
                    <a:gd name="connsiteX5" fmla="*/ 22242 w 44481"/>
                    <a:gd name="connsiteY5" fmla="*/ 10505 h 44483"/>
                    <a:gd name="connsiteX6" fmla="*/ 10502 w 44481"/>
                    <a:gd name="connsiteY6" fmla="*/ 22242 h 44483"/>
                    <a:gd name="connsiteX7" fmla="*/ 22242 w 44481"/>
                    <a:gd name="connsiteY7" fmla="*/ 33979 h 44483"/>
                    <a:gd name="connsiteX8" fmla="*/ 33979 w 44481"/>
                    <a:gd name="connsiteY8" fmla="*/ 22242 h 44483"/>
                    <a:gd name="connsiteX9" fmla="*/ 22242 w 44481"/>
                    <a:gd name="connsiteY9" fmla="*/ 10505 h 44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4481" h="44483">
                      <a:moveTo>
                        <a:pt x="22242" y="44484"/>
                      </a:moveTo>
                      <a:cubicBezTo>
                        <a:pt x="9977" y="44484"/>
                        <a:pt x="0" y="34507"/>
                        <a:pt x="0" y="22242"/>
                      </a:cubicBezTo>
                      <a:cubicBezTo>
                        <a:pt x="0" y="9977"/>
                        <a:pt x="9977" y="0"/>
                        <a:pt x="22242" y="0"/>
                      </a:cubicBezTo>
                      <a:cubicBezTo>
                        <a:pt x="34507" y="0"/>
                        <a:pt x="44481" y="9977"/>
                        <a:pt x="44481" y="22242"/>
                      </a:cubicBezTo>
                      <a:cubicBezTo>
                        <a:pt x="44481" y="34507"/>
                        <a:pt x="34504" y="44484"/>
                        <a:pt x="22242" y="44484"/>
                      </a:cubicBezTo>
                      <a:close/>
                      <a:moveTo>
                        <a:pt x="22242" y="10505"/>
                      </a:moveTo>
                      <a:cubicBezTo>
                        <a:pt x="15771" y="10505"/>
                        <a:pt x="10502" y="15769"/>
                        <a:pt x="10502" y="22242"/>
                      </a:cubicBezTo>
                      <a:cubicBezTo>
                        <a:pt x="10502" y="28715"/>
                        <a:pt x="15769" y="33979"/>
                        <a:pt x="22242" y="33979"/>
                      </a:cubicBezTo>
                      <a:cubicBezTo>
                        <a:pt x="28715" y="33979"/>
                        <a:pt x="33979" y="28715"/>
                        <a:pt x="33979" y="22242"/>
                      </a:cubicBezTo>
                      <a:cubicBezTo>
                        <a:pt x="33979" y="15769"/>
                        <a:pt x="28715" y="10505"/>
                        <a:pt x="22242" y="10505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6" name="Freihandform: Form 165">
                  <a:extLst>
                    <a:ext uri="{FF2B5EF4-FFF2-40B4-BE49-F238E27FC236}">
                      <a16:creationId xmlns:a16="http://schemas.microsoft.com/office/drawing/2014/main" id="{210A7E36-C859-AA54-3646-F81B3AF441C9}"/>
                    </a:ext>
                  </a:extLst>
                </p:cNvPr>
                <p:cNvSpPr/>
                <p:nvPr/>
              </p:nvSpPr>
              <p:spPr>
                <a:xfrm>
                  <a:off x="1135424" y="5754793"/>
                  <a:ext cx="33167" cy="69797"/>
                </a:xfrm>
                <a:custGeom>
                  <a:avLst/>
                  <a:gdLst>
                    <a:gd name="connsiteX0" fmla="*/ 23556 w 33167"/>
                    <a:gd name="connsiteY0" fmla="*/ 69798 h 69797"/>
                    <a:gd name="connsiteX1" fmla="*/ 9608 w 33167"/>
                    <a:gd name="connsiteY1" fmla="*/ 69798 h 69797"/>
                    <a:gd name="connsiteX2" fmla="*/ 0 w 33167"/>
                    <a:gd name="connsiteY2" fmla="*/ 60187 h 69797"/>
                    <a:gd name="connsiteX3" fmla="*/ 0 w 33167"/>
                    <a:gd name="connsiteY3" fmla="*/ 9611 h 69797"/>
                    <a:gd name="connsiteX4" fmla="*/ 9608 w 33167"/>
                    <a:gd name="connsiteY4" fmla="*/ 0 h 69797"/>
                    <a:gd name="connsiteX5" fmla="*/ 23556 w 33167"/>
                    <a:gd name="connsiteY5" fmla="*/ 0 h 69797"/>
                    <a:gd name="connsiteX6" fmla="*/ 33167 w 33167"/>
                    <a:gd name="connsiteY6" fmla="*/ 9611 h 69797"/>
                    <a:gd name="connsiteX7" fmla="*/ 33167 w 33167"/>
                    <a:gd name="connsiteY7" fmla="*/ 60187 h 69797"/>
                    <a:gd name="connsiteX8" fmla="*/ 23556 w 33167"/>
                    <a:gd name="connsiteY8" fmla="*/ 69798 h 69797"/>
                    <a:gd name="connsiteX9" fmla="*/ 10502 w 33167"/>
                    <a:gd name="connsiteY9" fmla="*/ 59296 h 69797"/>
                    <a:gd name="connsiteX10" fmla="*/ 22662 w 33167"/>
                    <a:gd name="connsiteY10" fmla="*/ 59296 h 69797"/>
                    <a:gd name="connsiteX11" fmla="*/ 22662 w 33167"/>
                    <a:gd name="connsiteY11" fmla="*/ 10505 h 69797"/>
                    <a:gd name="connsiteX12" fmla="*/ 10502 w 33167"/>
                    <a:gd name="connsiteY12" fmla="*/ 10505 h 69797"/>
                    <a:gd name="connsiteX13" fmla="*/ 10502 w 33167"/>
                    <a:gd name="connsiteY13" fmla="*/ 59296 h 697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33167" h="69797">
                      <a:moveTo>
                        <a:pt x="23556" y="69798"/>
                      </a:moveTo>
                      <a:lnTo>
                        <a:pt x="9608" y="69798"/>
                      </a:lnTo>
                      <a:cubicBezTo>
                        <a:pt x="4310" y="69798"/>
                        <a:pt x="0" y="65485"/>
                        <a:pt x="0" y="60187"/>
                      </a:cubicBezTo>
                      <a:lnTo>
                        <a:pt x="0" y="9611"/>
                      </a:lnTo>
                      <a:cubicBezTo>
                        <a:pt x="0" y="4313"/>
                        <a:pt x="4310" y="0"/>
                        <a:pt x="9608" y="0"/>
                      </a:cubicBezTo>
                      <a:lnTo>
                        <a:pt x="23556" y="0"/>
                      </a:lnTo>
                      <a:cubicBezTo>
                        <a:pt x="28854" y="0"/>
                        <a:pt x="33167" y="4313"/>
                        <a:pt x="33167" y="9611"/>
                      </a:cubicBezTo>
                      <a:lnTo>
                        <a:pt x="33167" y="60187"/>
                      </a:lnTo>
                      <a:cubicBezTo>
                        <a:pt x="33167" y="65485"/>
                        <a:pt x="28854" y="69798"/>
                        <a:pt x="23556" y="69798"/>
                      </a:cubicBezTo>
                      <a:close/>
                      <a:moveTo>
                        <a:pt x="10502" y="59296"/>
                      </a:moveTo>
                      <a:lnTo>
                        <a:pt x="22662" y="59296"/>
                      </a:lnTo>
                      <a:lnTo>
                        <a:pt x="22662" y="10505"/>
                      </a:lnTo>
                      <a:lnTo>
                        <a:pt x="10502" y="10505"/>
                      </a:lnTo>
                      <a:lnTo>
                        <a:pt x="10502" y="59296"/>
                      </a:ln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7" name="Freihandform: Form 166">
                  <a:extLst>
                    <a:ext uri="{FF2B5EF4-FFF2-40B4-BE49-F238E27FC236}">
                      <a16:creationId xmlns:a16="http://schemas.microsoft.com/office/drawing/2014/main" id="{8CEEF365-15C6-679C-402D-E8A8D1027EE4}"/>
                    </a:ext>
                  </a:extLst>
                </p:cNvPr>
                <p:cNvSpPr/>
                <p:nvPr/>
              </p:nvSpPr>
              <p:spPr>
                <a:xfrm>
                  <a:off x="1052236" y="5701422"/>
                  <a:ext cx="73199" cy="161360"/>
                </a:xfrm>
                <a:custGeom>
                  <a:avLst/>
                  <a:gdLst>
                    <a:gd name="connsiteX0" fmla="*/ 49109 w 73199"/>
                    <a:gd name="connsiteY0" fmla="*/ 161361 h 161360"/>
                    <a:gd name="connsiteX1" fmla="*/ 43856 w 73199"/>
                    <a:gd name="connsiteY1" fmla="*/ 156108 h 161360"/>
                    <a:gd name="connsiteX2" fmla="*/ 43856 w 73199"/>
                    <a:gd name="connsiteY2" fmla="*/ 86262 h 161360"/>
                    <a:gd name="connsiteX3" fmla="*/ 49109 w 73199"/>
                    <a:gd name="connsiteY3" fmla="*/ 81010 h 161360"/>
                    <a:gd name="connsiteX4" fmla="*/ 59239 w 73199"/>
                    <a:gd name="connsiteY4" fmla="*/ 81010 h 161360"/>
                    <a:gd name="connsiteX5" fmla="*/ 62697 w 73199"/>
                    <a:gd name="connsiteY5" fmla="*/ 77552 h 161360"/>
                    <a:gd name="connsiteX6" fmla="*/ 62697 w 73199"/>
                    <a:gd name="connsiteY6" fmla="*/ 13960 h 161360"/>
                    <a:gd name="connsiteX7" fmla="*/ 59239 w 73199"/>
                    <a:gd name="connsiteY7" fmla="*/ 10502 h 161360"/>
                    <a:gd name="connsiteX8" fmla="*/ 13963 w 73199"/>
                    <a:gd name="connsiteY8" fmla="*/ 10502 h 161360"/>
                    <a:gd name="connsiteX9" fmla="*/ 10502 w 73199"/>
                    <a:gd name="connsiteY9" fmla="*/ 13960 h 161360"/>
                    <a:gd name="connsiteX10" fmla="*/ 10502 w 73199"/>
                    <a:gd name="connsiteY10" fmla="*/ 77552 h 161360"/>
                    <a:gd name="connsiteX11" fmla="*/ 13963 w 73199"/>
                    <a:gd name="connsiteY11" fmla="*/ 81010 h 161360"/>
                    <a:gd name="connsiteX12" fmla="*/ 22012 w 73199"/>
                    <a:gd name="connsiteY12" fmla="*/ 81010 h 161360"/>
                    <a:gd name="connsiteX13" fmla="*/ 27264 w 73199"/>
                    <a:gd name="connsiteY13" fmla="*/ 86262 h 161360"/>
                    <a:gd name="connsiteX14" fmla="*/ 27264 w 73199"/>
                    <a:gd name="connsiteY14" fmla="*/ 156108 h 161360"/>
                    <a:gd name="connsiteX15" fmla="*/ 22012 w 73199"/>
                    <a:gd name="connsiteY15" fmla="*/ 161361 h 161360"/>
                    <a:gd name="connsiteX16" fmla="*/ 16760 w 73199"/>
                    <a:gd name="connsiteY16" fmla="*/ 156108 h 161360"/>
                    <a:gd name="connsiteX17" fmla="*/ 16760 w 73199"/>
                    <a:gd name="connsiteY17" fmla="*/ 91515 h 161360"/>
                    <a:gd name="connsiteX18" fmla="*/ 13963 w 73199"/>
                    <a:gd name="connsiteY18" fmla="*/ 91515 h 161360"/>
                    <a:gd name="connsiteX19" fmla="*/ 0 w 73199"/>
                    <a:gd name="connsiteY19" fmla="*/ 77554 h 161360"/>
                    <a:gd name="connsiteX20" fmla="*/ 0 w 73199"/>
                    <a:gd name="connsiteY20" fmla="*/ 13963 h 161360"/>
                    <a:gd name="connsiteX21" fmla="*/ 13963 w 73199"/>
                    <a:gd name="connsiteY21" fmla="*/ 0 h 161360"/>
                    <a:gd name="connsiteX22" fmla="*/ 59239 w 73199"/>
                    <a:gd name="connsiteY22" fmla="*/ 0 h 161360"/>
                    <a:gd name="connsiteX23" fmla="*/ 73199 w 73199"/>
                    <a:gd name="connsiteY23" fmla="*/ 13963 h 161360"/>
                    <a:gd name="connsiteX24" fmla="*/ 73199 w 73199"/>
                    <a:gd name="connsiteY24" fmla="*/ 77554 h 161360"/>
                    <a:gd name="connsiteX25" fmla="*/ 59239 w 73199"/>
                    <a:gd name="connsiteY25" fmla="*/ 91515 h 161360"/>
                    <a:gd name="connsiteX26" fmla="*/ 54359 w 73199"/>
                    <a:gd name="connsiteY26" fmla="*/ 91515 h 161360"/>
                    <a:gd name="connsiteX27" fmla="*/ 54359 w 73199"/>
                    <a:gd name="connsiteY27" fmla="*/ 156108 h 161360"/>
                    <a:gd name="connsiteX28" fmla="*/ 49106 w 73199"/>
                    <a:gd name="connsiteY28" fmla="*/ 161361 h 1613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73199" h="161360">
                      <a:moveTo>
                        <a:pt x="49109" y="161361"/>
                      </a:moveTo>
                      <a:cubicBezTo>
                        <a:pt x="46210" y="161361"/>
                        <a:pt x="43856" y="159010"/>
                        <a:pt x="43856" y="156108"/>
                      </a:cubicBezTo>
                      <a:lnTo>
                        <a:pt x="43856" y="86262"/>
                      </a:lnTo>
                      <a:cubicBezTo>
                        <a:pt x="43856" y="83363"/>
                        <a:pt x="46207" y="81010"/>
                        <a:pt x="49109" y="81010"/>
                      </a:cubicBezTo>
                      <a:lnTo>
                        <a:pt x="59239" y="81010"/>
                      </a:lnTo>
                      <a:cubicBezTo>
                        <a:pt x="61144" y="81010"/>
                        <a:pt x="62697" y="79457"/>
                        <a:pt x="62697" y="77552"/>
                      </a:cubicBezTo>
                      <a:lnTo>
                        <a:pt x="62697" y="13960"/>
                      </a:lnTo>
                      <a:cubicBezTo>
                        <a:pt x="62697" y="12055"/>
                        <a:pt x="61144" y="10502"/>
                        <a:pt x="59239" y="10502"/>
                      </a:cubicBezTo>
                      <a:lnTo>
                        <a:pt x="13963" y="10502"/>
                      </a:lnTo>
                      <a:cubicBezTo>
                        <a:pt x="12055" y="10502"/>
                        <a:pt x="10502" y="12052"/>
                        <a:pt x="10502" y="13960"/>
                      </a:cubicBezTo>
                      <a:lnTo>
                        <a:pt x="10502" y="77552"/>
                      </a:lnTo>
                      <a:cubicBezTo>
                        <a:pt x="10502" y="79457"/>
                        <a:pt x="12055" y="81010"/>
                        <a:pt x="13963" y="81010"/>
                      </a:cubicBezTo>
                      <a:lnTo>
                        <a:pt x="22012" y="81010"/>
                      </a:lnTo>
                      <a:cubicBezTo>
                        <a:pt x="24911" y="81010"/>
                        <a:pt x="27264" y="83360"/>
                        <a:pt x="27264" y="86262"/>
                      </a:cubicBezTo>
                      <a:lnTo>
                        <a:pt x="27264" y="156108"/>
                      </a:lnTo>
                      <a:cubicBezTo>
                        <a:pt x="27264" y="159007"/>
                        <a:pt x="24914" y="161361"/>
                        <a:pt x="22012" y="161361"/>
                      </a:cubicBezTo>
                      <a:cubicBezTo>
                        <a:pt x="19110" y="161361"/>
                        <a:pt x="16760" y="159010"/>
                        <a:pt x="16760" y="156108"/>
                      </a:cubicBezTo>
                      <a:lnTo>
                        <a:pt x="16760" y="91515"/>
                      </a:lnTo>
                      <a:lnTo>
                        <a:pt x="13963" y="91515"/>
                      </a:lnTo>
                      <a:cubicBezTo>
                        <a:pt x="6263" y="91515"/>
                        <a:pt x="0" y="85254"/>
                        <a:pt x="0" y="77554"/>
                      </a:cubicBezTo>
                      <a:lnTo>
                        <a:pt x="0" y="13963"/>
                      </a:lnTo>
                      <a:cubicBezTo>
                        <a:pt x="0" y="6263"/>
                        <a:pt x="6263" y="0"/>
                        <a:pt x="13963" y="0"/>
                      </a:cubicBezTo>
                      <a:lnTo>
                        <a:pt x="59239" y="0"/>
                      </a:lnTo>
                      <a:cubicBezTo>
                        <a:pt x="66939" y="0"/>
                        <a:pt x="73199" y="6263"/>
                        <a:pt x="73199" y="13963"/>
                      </a:cubicBezTo>
                      <a:lnTo>
                        <a:pt x="73199" y="77554"/>
                      </a:lnTo>
                      <a:cubicBezTo>
                        <a:pt x="73199" y="85254"/>
                        <a:pt x="66939" y="91515"/>
                        <a:pt x="59239" y="91515"/>
                      </a:cubicBezTo>
                      <a:lnTo>
                        <a:pt x="54359" y="91515"/>
                      </a:lnTo>
                      <a:lnTo>
                        <a:pt x="54359" y="156108"/>
                      </a:lnTo>
                      <a:cubicBezTo>
                        <a:pt x="54359" y="159007"/>
                        <a:pt x="52008" y="161361"/>
                        <a:pt x="49106" y="161361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8" name="Freihandform: Form 167">
                  <a:extLst>
                    <a:ext uri="{FF2B5EF4-FFF2-40B4-BE49-F238E27FC236}">
                      <a16:creationId xmlns:a16="http://schemas.microsoft.com/office/drawing/2014/main" id="{1F7C8DC5-59F4-9C51-4834-916D9B850F95}"/>
                    </a:ext>
                  </a:extLst>
                </p:cNvPr>
                <p:cNvSpPr/>
                <p:nvPr/>
              </p:nvSpPr>
              <p:spPr>
                <a:xfrm>
                  <a:off x="1171396" y="5649962"/>
                  <a:ext cx="44481" cy="44483"/>
                </a:xfrm>
                <a:custGeom>
                  <a:avLst/>
                  <a:gdLst>
                    <a:gd name="connsiteX0" fmla="*/ 22239 w 44481"/>
                    <a:gd name="connsiteY0" fmla="*/ 44484 h 44483"/>
                    <a:gd name="connsiteX1" fmla="*/ 0 w 44481"/>
                    <a:gd name="connsiteY1" fmla="*/ 22242 h 44483"/>
                    <a:gd name="connsiteX2" fmla="*/ 22239 w 44481"/>
                    <a:gd name="connsiteY2" fmla="*/ 0 h 44483"/>
                    <a:gd name="connsiteX3" fmla="*/ 44481 w 44481"/>
                    <a:gd name="connsiteY3" fmla="*/ 22242 h 44483"/>
                    <a:gd name="connsiteX4" fmla="*/ 22239 w 44481"/>
                    <a:gd name="connsiteY4" fmla="*/ 44484 h 44483"/>
                    <a:gd name="connsiteX5" fmla="*/ 22239 w 44481"/>
                    <a:gd name="connsiteY5" fmla="*/ 10505 h 44483"/>
                    <a:gd name="connsiteX6" fmla="*/ 10502 w 44481"/>
                    <a:gd name="connsiteY6" fmla="*/ 22242 h 44483"/>
                    <a:gd name="connsiteX7" fmla="*/ 22239 w 44481"/>
                    <a:gd name="connsiteY7" fmla="*/ 33979 h 44483"/>
                    <a:gd name="connsiteX8" fmla="*/ 33979 w 44481"/>
                    <a:gd name="connsiteY8" fmla="*/ 22242 h 44483"/>
                    <a:gd name="connsiteX9" fmla="*/ 22239 w 44481"/>
                    <a:gd name="connsiteY9" fmla="*/ 10505 h 44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4481" h="44483">
                      <a:moveTo>
                        <a:pt x="22239" y="44484"/>
                      </a:moveTo>
                      <a:cubicBezTo>
                        <a:pt x="9977" y="44484"/>
                        <a:pt x="0" y="34507"/>
                        <a:pt x="0" y="22242"/>
                      </a:cubicBezTo>
                      <a:cubicBezTo>
                        <a:pt x="0" y="9977"/>
                        <a:pt x="9977" y="0"/>
                        <a:pt x="22239" y="0"/>
                      </a:cubicBezTo>
                      <a:cubicBezTo>
                        <a:pt x="34501" y="0"/>
                        <a:pt x="44481" y="9977"/>
                        <a:pt x="44481" y="22242"/>
                      </a:cubicBezTo>
                      <a:cubicBezTo>
                        <a:pt x="44481" y="34507"/>
                        <a:pt x="34504" y="44484"/>
                        <a:pt x="22239" y="44484"/>
                      </a:cubicBezTo>
                      <a:close/>
                      <a:moveTo>
                        <a:pt x="22239" y="10505"/>
                      </a:moveTo>
                      <a:cubicBezTo>
                        <a:pt x="15769" y="10505"/>
                        <a:pt x="10502" y="15769"/>
                        <a:pt x="10502" y="22242"/>
                      </a:cubicBezTo>
                      <a:cubicBezTo>
                        <a:pt x="10502" y="28715"/>
                        <a:pt x="15766" y="33979"/>
                        <a:pt x="22239" y="33979"/>
                      </a:cubicBezTo>
                      <a:cubicBezTo>
                        <a:pt x="28712" y="33979"/>
                        <a:pt x="33979" y="28715"/>
                        <a:pt x="33979" y="22242"/>
                      </a:cubicBezTo>
                      <a:cubicBezTo>
                        <a:pt x="33979" y="15769"/>
                        <a:pt x="28712" y="10505"/>
                        <a:pt x="22239" y="10505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9" name="Freihandform: Form 168">
                  <a:extLst>
                    <a:ext uri="{FF2B5EF4-FFF2-40B4-BE49-F238E27FC236}">
                      <a16:creationId xmlns:a16="http://schemas.microsoft.com/office/drawing/2014/main" id="{C590D02C-93DF-BF53-2544-5DA3528F14F1}"/>
                    </a:ext>
                  </a:extLst>
                </p:cNvPr>
                <p:cNvSpPr/>
                <p:nvPr/>
              </p:nvSpPr>
              <p:spPr>
                <a:xfrm>
                  <a:off x="1178550" y="5781546"/>
                  <a:ext cx="10504" cy="80348"/>
                </a:xfrm>
                <a:custGeom>
                  <a:avLst/>
                  <a:gdLst>
                    <a:gd name="connsiteX0" fmla="*/ 5252 w 10504"/>
                    <a:gd name="connsiteY0" fmla="*/ 80348 h 80348"/>
                    <a:gd name="connsiteX1" fmla="*/ 0 w 10504"/>
                    <a:gd name="connsiteY1" fmla="*/ 75096 h 80348"/>
                    <a:gd name="connsiteX2" fmla="*/ 0 w 10504"/>
                    <a:gd name="connsiteY2" fmla="*/ 5252 h 80348"/>
                    <a:gd name="connsiteX3" fmla="*/ 5252 w 10504"/>
                    <a:gd name="connsiteY3" fmla="*/ 0 h 80348"/>
                    <a:gd name="connsiteX4" fmla="*/ 10505 w 10504"/>
                    <a:gd name="connsiteY4" fmla="*/ 5252 h 80348"/>
                    <a:gd name="connsiteX5" fmla="*/ 10505 w 10504"/>
                    <a:gd name="connsiteY5" fmla="*/ 75096 h 80348"/>
                    <a:gd name="connsiteX6" fmla="*/ 5252 w 10504"/>
                    <a:gd name="connsiteY6" fmla="*/ 80348 h 80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504" h="80348">
                      <a:moveTo>
                        <a:pt x="5252" y="80348"/>
                      </a:moveTo>
                      <a:cubicBezTo>
                        <a:pt x="2354" y="80348"/>
                        <a:pt x="0" y="77997"/>
                        <a:pt x="0" y="75096"/>
                      </a:cubicBezTo>
                      <a:lnTo>
                        <a:pt x="0" y="5252"/>
                      </a:lnTo>
                      <a:cubicBezTo>
                        <a:pt x="0" y="2354"/>
                        <a:pt x="2351" y="0"/>
                        <a:pt x="5252" y="0"/>
                      </a:cubicBezTo>
                      <a:cubicBezTo>
                        <a:pt x="8154" y="0"/>
                        <a:pt x="10505" y="2351"/>
                        <a:pt x="10505" y="5252"/>
                      </a:cubicBezTo>
                      <a:lnTo>
                        <a:pt x="10505" y="75096"/>
                      </a:lnTo>
                      <a:cubicBezTo>
                        <a:pt x="10505" y="77994"/>
                        <a:pt x="8154" y="80348"/>
                        <a:pt x="5252" y="80348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0" name="Freihandform: Form 169">
                  <a:extLst>
                    <a:ext uri="{FF2B5EF4-FFF2-40B4-BE49-F238E27FC236}">
                      <a16:creationId xmlns:a16="http://schemas.microsoft.com/office/drawing/2014/main" id="{1EF85DD8-E8CF-FC45-F7AD-F8C12E3EDDAE}"/>
                    </a:ext>
                  </a:extLst>
                </p:cNvPr>
                <p:cNvSpPr/>
                <p:nvPr/>
              </p:nvSpPr>
              <p:spPr>
                <a:xfrm>
                  <a:off x="1160229" y="5700531"/>
                  <a:ext cx="66811" cy="161363"/>
                </a:xfrm>
                <a:custGeom>
                  <a:avLst/>
                  <a:gdLst>
                    <a:gd name="connsiteX0" fmla="*/ 44640 w 66811"/>
                    <a:gd name="connsiteY0" fmla="*/ 161363 h 161363"/>
                    <a:gd name="connsiteX1" fmla="*/ 39388 w 66811"/>
                    <a:gd name="connsiteY1" fmla="*/ 156111 h 161363"/>
                    <a:gd name="connsiteX2" fmla="*/ 39388 w 66811"/>
                    <a:gd name="connsiteY2" fmla="*/ 86271 h 161363"/>
                    <a:gd name="connsiteX3" fmla="*/ 44640 w 66811"/>
                    <a:gd name="connsiteY3" fmla="*/ 81018 h 161363"/>
                    <a:gd name="connsiteX4" fmla="*/ 53740 w 66811"/>
                    <a:gd name="connsiteY4" fmla="*/ 81018 h 161363"/>
                    <a:gd name="connsiteX5" fmla="*/ 56312 w 66811"/>
                    <a:gd name="connsiteY5" fmla="*/ 77557 h 161363"/>
                    <a:gd name="connsiteX6" fmla="*/ 56312 w 66811"/>
                    <a:gd name="connsiteY6" fmla="*/ 13963 h 161363"/>
                    <a:gd name="connsiteX7" fmla="*/ 53740 w 66811"/>
                    <a:gd name="connsiteY7" fmla="*/ 10505 h 161363"/>
                    <a:gd name="connsiteX8" fmla="*/ 13077 w 66811"/>
                    <a:gd name="connsiteY8" fmla="*/ 10505 h 161363"/>
                    <a:gd name="connsiteX9" fmla="*/ 10505 w 66811"/>
                    <a:gd name="connsiteY9" fmla="*/ 13963 h 161363"/>
                    <a:gd name="connsiteX10" fmla="*/ 10505 w 66811"/>
                    <a:gd name="connsiteY10" fmla="*/ 49049 h 161363"/>
                    <a:gd name="connsiteX11" fmla="*/ 5252 w 66811"/>
                    <a:gd name="connsiteY11" fmla="*/ 54302 h 161363"/>
                    <a:gd name="connsiteX12" fmla="*/ 0 w 66811"/>
                    <a:gd name="connsiteY12" fmla="*/ 49049 h 161363"/>
                    <a:gd name="connsiteX13" fmla="*/ 0 w 66811"/>
                    <a:gd name="connsiteY13" fmla="*/ 13963 h 161363"/>
                    <a:gd name="connsiteX14" fmla="*/ 13074 w 66811"/>
                    <a:gd name="connsiteY14" fmla="*/ 0 h 161363"/>
                    <a:gd name="connsiteX15" fmla="*/ 53737 w 66811"/>
                    <a:gd name="connsiteY15" fmla="*/ 0 h 161363"/>
                    <a:gd name="connsiteX16" fmla="*/ 66811 w 66811"/>
                    <a:gd name="connsiteY16" fmla="*/ 13963 h 161363"/>
                    <a:gd name="connsiteX17" fmla="*/ 66811 w 66811"/>
                    <a:gd name="connsiteY17" fmla="*/ 77557 h 161363"/>
                    <a:gd name="connsiteX18" fmla="*/ 53737 w 66811"/>
                    <a:gd name="connsiteY18" fmla="*/ 91520 h 161363"/>
                    <a:gd name="connsiteX19" fmla="*/ 49890 w 66811"/>
                    <a:gd name="connsiteY19" fmla="*/ 91520 h 161363"/>
                    <a:gd name="connsiteX20" fmla="*/ 49890 w 66811"/>
                    <a:gd name="connsiteY20" fmla="*/ 156108 h 161363"/>
                    <a:gd name="connsiteX21" fmla="*/ 44637 w 66811"/>
                    <a:gd name="connsiteY21" fmla="*/ 161361 h 161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66811" h="161363">
                      <a:moveTo>
                        <a:pt x="44640" y="161363"/>
                      </a:moveTo>
                      <a:cubicBezTo>
                        <a:pt x="41741" y="161363"/>
                        <a:pt x="39388" y="159013"/>
                        <a:pt x="39388" y="156111"/>
                      </a:cubicBezTo>
                      <a:lnTo>
                        <a:pt x="39388" y="86271"/>
                      </a:lnTo>
                      <a:cubicBezTo>
                        <a:pt x="39388" y="83372"/>
                        <a:pt x="41738" y="81018"/>
                        <a:pt x="44640" y="81018"/>
                      </a:cubicBezTo>
                      <a:lnTo>
                        <a:pt x="53740" y="81018"/>
                      </a:lnTo>
                      <a:cubicBezTo>
                        <a:pt x="55134" y="81018"/>
                        <a:pt x="56312" y="79431"/>
                        <a:pt x="56312" y="77557"/>
                      </a:cubicBezTo>
                      <a:lnTo>
                        <a:pt x="56312" y="13963"/>
                      </a:lnTo>
                      <a:cubicBezTo>
                        <a:pt x="56312" y="12089"/>
                        <a:pt x="55134" y="10505"/>
                        <a:pt x="53740" y="10505"/>
                      </a:cubicBezTo>
                      <a:lnTo>
                        <a:pt x="13077" y="10505"/>
                      </a:lnTo>
                      <a:cubicBezTo>
                        <a:pt x="11683" y="10505"/>
                        <a:pt x="10505" y="12089"/>
                        <a:pt x="10505" y="13963"/>
                      </a:cubicBezTo>
                      <a:lnTo>
                        <a:pt x="10505" y="49049"/>
                      </a:lnTo>
                      <a:cubicBezTo>
                        <a:pt x="10505" y="51951"/>
                        <a:pt x="8154" y="54302"/>
                        <a:pt x="5252" y="54302"/>
                      </a:cubicBezTo>
                      <a:cubicBezTo>
                        <a:pt x="2351" y="54302"/>
                        <a:pt x="0" y="51951"/>
                        <a:pt x="0" y="49049"/>
                      </a:cubicBezTo>
                      <a:lnTo>
                        <a:pt x="0" y="13963"/>
                      </a:lnTo>
                      <a:cubicBezTo>
                        <a:pt x="0" y="6263"/>
                        <a:pt x="5863" y="0"/>
                        <a:pt x="13074" y="0"/>
                      </a:cubicBezTo>
                      <a:lnTo>
                        <a:pt x="53737" y="0"/>
                      </a:lnTo>
                      <a:cubicBezTo>
                        <a:pt x="60948" y="0"/>
                        <a:pt x="66811" y="6263"/>
                        <a:pt x="66811" y="13963"/>
                      </a:cubicBezTo>
                      <a:lnTo>
                        <a:pt x="66811" y="77557"/>
                      </a:lnTo>
                      <a:cubicBezTo>
                        <a:pt x="66811" y="85257"/>
                        <a:pt x="60948" y="91520"/>
                        <a:pt x="53737" y="91520"/>
                      </a:cubicBezTo>
                      <a:lnTo>
                        <a:pt x="49890" y="91520"/>
                      </a:lnTo>
                      <a:lnTo>
                        <a:pt x="49890" y="156108"/>
                      </a:lnTo>
                      <a:cubicBezTo>
                        <a:pt x="49890" y="159007"/>
                        <a:pt x="47539" y="161361"/>
                        <a:pt x="44637" y="161361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1" name="Freihandform: Form 170">
                  <a:extLst>
                    <a:ext uri="{FF2B5EF4-FFF2-40B4-BE49-F238E27FC236}">
                      <a16:creationId xmlns:a16="http://schemas.microsoft.com/office/drawing/2014/main" id="{D6065B48-D0EB-69CF-0DA8-5A62EB93463A}"/>
                    </a:ext>
                  </a:extLst>
                </p:cNvPr>
                <p:cNvSpPr/>
                <p:nvPr/>
              </p:nvSpPr>
              <p:spPr>
                <a:xfrm>
                  <a:off x="999791" y="5703852"/>
                  <a:ext cx="32252" cy="32252"/>
                </a:xfrm>
                <a:custGeom>
                  <a:avLst/>
                  <a:gdLst>
                    <a:gd name="connsiteX0" fmla="*/ 16126 w 32252"/>
                    <a:gd name="connsiteY0" fmla="*/ 32253 h 32252"/>
                    <a:gd name="connsiteX1" fmla="*/ 0 w 32252"/>
                    <a:gd name="connsiteY1" fmla="*/ 16126 h 32252"/>
                    <a:gd name="connsiteX2" fmla="*/ 16126 w 32252"/>
                    <a:gd name="connsiteY2" fmla="*/ 0 h 32252"/>
                    <a:gd name="connsiteX3" fmla="*/ 32253 w 32252"/>
                    <a:gd name="connsiteY3" fmla="*/ 16126 h 32252"/>
                    <a:gd name="connsiteX4" fmla="*/ 16126 w 32252"/>
                    <a:gd name="connsiteY4" fmla="*/ 32253 h 32252"/>
                    <a:gd name="connsiteX5" fmla="*/ 16126 w 32252"/>
                    <a:gd name="connsiteY5" fmla="*/ 10505 h 32252"/>
                    <a:gd name="connsiteX6" fmla="*/ 10505 w 32252"/>
                    <a:gd name="connsiteY6" fmla="*/ 16126 h 32252"/>
                    <a:gd name="connsiteX7" fmla="*/ 16126 w 32252"/>
                    <a:gd name="connsiteY7" fmla="*/ 21748 h 32252"/>
                    <a:gd name="connsiteX8" fmla="*/ 21748 w 32252"/>
                    <a:gd name="connsiteY8" fmla="*/ 16126 h 32252"/>
                    <a:gd name="connsiteX9" fmla="*/ 16126 w 32252"/>
                    <a:gd name="connsiteY9" fmla="*/ 10505 h 322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2252" h="32252">
                      <a:moveTo>
                        <a:pt x="16126" y="32253"/>
                      </a:moveTo>
                      <a:cubicBezTo>
                        <a:pt x="7234" y="32253"/>
                        <a:pt x="0" y="25019"/>
                        <a:pt x="0" y="16126"/>
                      </a:cubicBezTo>
                      <a:cubicBezTo>
                        <a:pt x="0" y="7234"/>
                        <a:pt x="7234" y="0"/>
                        <a:pt x="16126" y="0"/>
                      </a:cubicBezTo>
                      <a:cubicBezTo>
                        <a:pt x="25019" y="0"/>
                        <a:pt x="32253" y="7234"/>
                        <a:pt x="32253" y="16126"/>
                      </a:cubicBezTo>
                      <a:cubicBezTo>
                        <a:pt x="32253" y="25019"/>
                        <a:pt x="25019" y="32253"/>
                        <a:pt x="16126" y="32253"/>
                      </a:cubicBezTo>
                      <a:close/>
                      <a:moveTo>
                        <a:pt x="16126" y="10505"/>
                      </a:moveTo>
                      <a:cubicBezTo>
                        <a:pt x="13026" y="10505"/>
                        <a:pt x="10505" y="13026"/>
                        <a:pt x="10505" y="16126"/>
                      </a:cubicBezTo>
                      <a:cubicBezTo>
                        <a:pt x="10505" y="19227"/>
                        <a:pt x="13029" y="21748"/>
                        <a:pt x="16126" y="21748"/>
                      </a:cubicBezTo>
                      <a:cubicBezTo>
                        <a:pt x="19224" y="21748"/>
                        <a:pt x="21748" y="19227"/>
                        <a:pt x="21748" y="16126"/>
                      </a:cubicBezTo>
                      <a:cubicBezTo>
                        <a:pt x="21748" y="13026"/>
                        <a:pt x="19224" y="10505"/>
                        <a:pt x="16126" y="10505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2" name="Freihandform: Form 171">
                  <a:extLst>
                    <a:ext uri="{FF2B5EF4-FFF2-40B4-BE49-F238E27FC236}">
                      <a16:creationId xmlns:a16="http://schemas.microsoft.com/office/drawing/2014/main" id="{2916C365-9CE7-BF66-45B5-8B82F724B6BE}"/>
                    </a:ext>
                  </a:extLst>
                </p:cNvPr>
                <p:cNvSpPr/>
                <p:nvPr/>
              </p:nvSpPr>
              <p:spPr>
                <a:xfrm>
                  <a:off x="989809" y="5739308"/>
                  <a:ext cx="57271" cy="123020"/>
                </a:xfrm>
                <a:custGeom>
                  <a:avLst/>
                  <a:gdLst>
                    <a:gd name="connsiteX0" fmla="*/ 37965 w 57271"/>
                    <a:gd name="connsiteY0" fmla="*/ 123021 h 123020"/>
                    <a:gd name="connsiteX1" fmla="*/ 32713 w 57271"/>
                    <a:gd name="connsiteY1" fmla="*/ 117768 h 123020"/>
                    <a:gd name="connsiteX2" fmla="*/ 32713 w 57271"/>
                    <a:gd name="connsiteY2" fmla="*/ 65678 h 123020"/>
                    <a:gd name="connsiteX3" fmla="*/ 37965 w 57271"/>
                    <a:gd name="connsiteY3" fmla="*/ 60426 h 123020"/>
                    <a:gd name="connsiteX4" fmla="*/ 45523 w 57271"/>
                    <a:gd name="connsiteY4" fmla="*/ 60426 h 123020"/>
                    <a:gd name="connsiteX5" fmla="*/ 46769 w 57271"/>
                    <a:gd name="connsiteY5" fmla="*/ 59182 h 123020"/>
                    <a:gd name="connsiteX6" fmla="*/ 46769 w 57271"/>
                    <a:gd name="connsiteY6" fmla="*/ 11751 h 123020"/>
                    <a:gd name="connsiteX7" fmla="*/ 45523 w 57271"/>
                    <a:gd name="connsiteY7" fmla="*/ 10505 h 123020"/>
                    <a:gd name="connsiteX8" fmla="*/ 11754 w 57271"/>
                    <a:gd name="connsiteY8" fmla="*/ 10505 h 123020"/>
                    <a:gd name="connsiteX9" fmla="*/ 10508 w 57271"/>
                    <a:gd name="connsiteY9" fmla="*/ 11751 h 123020"/>
                    <a:gd name="connsiteX10" fmla="*/ 10508 w 57271"/>
                    <a:gd name="connsiteY10" fmla="*/ 59182 h 123020"/>
                    <a:gd name="connsiteX11" fmla="*/ 11754 w 57271"/>
                    <a:gd name="connsiteY11" fmla="*/ 60426 h 123020"/>
                    <a:gd name="connsiteX12" fmla="*/ 17753 w 57271"/>
                    <a:gd name="connsiteY12" fmla="*/ 60426 h 123020"/>
                    <a:gd name="connsiteX13" fmla="*/ 23006 w 57271"/>
                    <a:gd name="connsiteY13" fmla="*/ 65678 h 123020"/>
                    <a:gd name="connsiteX14" fmla="*/ 23006 w 57271"/>
                    <a:gd name="connsiteY14" fmla="*/ 117768 h 123020"/>
                    <a:gd name="connsiteX15" fmla="*/ 17753 w 57271"/>
                    <a:gd name="connsiteY15" fmla="*/ 123021 h 123020"/>
                    <a:gd name="connsiteX16" fmla="*/ 12501 w 57271"/>
                    <a:gd name="connsiteY16" fmla="*/ 117768 h 123020"/>
                    <a:gd name="connsiteX17" fmla="*/ 12501 w 57271"/>
                    <a:gd name="connsiteY17" fmla="*/ 70931 h 123020"/>
                    <a:gd name="connsiteX18" fmla="*/ 11751 w 57271"/>
                    <a:gd name="connsiteY18" fmla="*/ 70931 h 123020"/>
                    <a:gd name="connsiteX19" fmla="*/ 0 w 57271"/>
                    <a:gd name="connsiteY19" fmla="*/ 59182 h 123020"/>
                    <a:gd name="connsiteX20" fmla="*/ 0 w 57271"/>
                    <a:gd name="connsiteY20" fmla="*/ 11751 h 123020"/>
                    <a:gd name="connsiteX21" fmla="*/ 11751 w 57271"/>
                    <a:gd name="connsiteY21" fmla="*/ 0 h 123020"/>
                    <a:gd name="connsiteX22" fmla="*/ 45520 w 57271"/>
                    <a:gd name="connsiteY22" fmla="*/ 0 h 123020"/>
                    <a:gd name="connsiteX23" fmla="*/ 57271 w 57271"/>
                    <a:gd name="connsiteY23" fmla="*/ 11751 h 123020"/>
                    <a:gd name="connsiteX24" fmla="*/ 57271 w 57271"/>
                    <a:gd name="connsiteY24" fmla="*/ 59182 h 123020"/>
                    <a:gd name="connsiteX25" fmla="*/ 45520 w 57271"/>
                    <a:gd name="connsiteY25" fmla="*/ 70931 h 123020"/>
                    <a:gd name="connsiteX26" fmla="*/ 43215 w 57271"/>
                    <a:gd name="connsiteY26" fmla="*/ 70931 h 123020"/>
                    <a:gd name="connsiteX27" fmla="*/ 43215 w 57271"/>
                    <a:gd name="connsiteY27" fmla="*/ 117768 h 123020"/>
                    <a:gd name="connsiteX28" fmla="*/ 37962 w 57271"/>
                    <a:gd name="connsiteY28" fmla="*/ 123021 h 123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7271" h="123020">
                      <a:moveTo>
                        <a:pt x="37965" y="123021"/>
                      </a:moveTo>
                      <a:cubicBezTo>
                        <a:pt x="35066" y="123021"/>
                        <a:pt x="32713" y="120670"/>
                        <a:pt x="32713" y="117768"/>
                      </a:cubicBezTo>
                      <a:lnTo>
                        <a:pt x="32713" y="65678"/>
                      </a:lnTo>
                      <a:cubicBezTo>
                        <a:pt x="32713" y="62779"/>
                        <a:pt x="35064" y="60426"/>
                        <a:pt x="37965" y="60426"/>
                      </a:cubicBezTo>
                      <a:lnTo>
                        <a:pt x="45523" y="60426"/>
                      </a:lnTo>
                      <a:cubicBezTo>
                        <a:pt x="46210" y="60426"/>
                        <a:pt x="46769" y="59866"/>
                        <a:pt x="46769" y="59182"/>
                      </a:cubicBezTo>
                      <a:lnTo>
                        <a:pt x="46769" y="11751"/>
                      </a:lnTo>
                      <a:cubicBezTo>
                        <a:pt x="46769" y="11064"/>
                        <a:pt x="46210" y="10505"/>
                        <a:pt x="45523" y="10505"/>
                      </a:cubicBezTo>
                      <a:lnTo>
                        <a:pt x="11754" y="10505"/>
                      </a:lnTo>
                      <a:cubicBezTo>
                        <a:pt x="11067" y="10505"/>
                        <a:pt x="10508" y="11064"/>
                        <a:pt x="10508" y="11751"/>
                      </a:cubicBezTo>
                      <a:lnTo>
                        <a:pt x="10508" y="59182"/>
                      </a:lnTo>
                      <a:cubicBezTo>
                        <a:pt x="10508" y="59866"/>
                        <a:pt x="11067" y="60426"/>
                        <a:pt x="11754" y="60426"/>
                      </a:cubicBezTo>
                      <a:lnTo>
                        <a:pt x="17753" y="60426"/>
                      </a:lnTo>
                      <a:cubicBezTo>
                        <a:pt x="20652" y="60426"/>
                        <a:pt x="23006" y="62777"/>
                        <a:pt x="23006" y="65678"/>
                      </a:cubicBezTo>
                      <a:lnTo>
                        <a:pt x="23006" y="117768"/>
                      </a:lnTo>
                      <a:cubicBezTo>
                        <a:pt x="23006" y="120667"/>
                        <a:pt x="20655" y="123021"/>
                        <a:pt x="17753" y="123021"/>
                      </a:cubicBezTo>
                      <a:cubicBezTo>
                        <a:pt x="14852" y="123021"/>
                        <a:pt x="12501" y="120670"/>
                        <a:pt x="12501" y="117768"/>
                      </a:cubicBezTo>
                      <a:lnTo>
                        <a:pt x="12501" y="70931"/>
                      </a:lnTo>
                      <a:lnTo>
                        <a:pt x="11751" y="70931"/>
                      </a:lnTo>
                      <a:cubicBezTo>
                        <a:pt x="5272" y="70931"/>
                        <a:pt x="0" y="65664"/>
                        <a:pt x="0" y="59182"/>
                      </a:cubicBezTo>
                      <a:lnTo>
                        <a:pt x="0" y="11751"/>
                      </a:lnTo>
                      <a:cubicBezTo>
                        <a:pt x="0" y="5272"/>
                        <a:pt x="5269" y="0"/>
                        <a:pt x="11751" y="0"/>
                      </a:cubicBezTo>
                      <a:lnTo>
                        <a:pt x="45520" y="0"/>
                      </a:lnTo>
                      <a:cubicBezTo>
                        <a:pt x="51999" y="0"/>
                        <a:pt x="57271" y="5272"/>
                        <a:pt x="57271" y="11751"/>
                      </a:cubicBezTo>
                      <a:lnTo>
                        <a:pt x="57271" y="59182"/>
                      </a:lnTo>
                      <a:cubicBezTo>
                        <a:pt x="57271" y="65661"/>
                        <a:pt x="52002" y="70931"/>
                        <a:pt x="45520" y="70931"/>
                      </a:cubicBezTo>
                      <a:lnTo>
                        <a:pt x="43215" y="70931"/>
                      </a:lnTo>
                      <a:lnTo>
                        <a:pt x="43215" y="117768"/>
                      </a:lnTo>
                      <a:cubicBezTo>
                        <a:pt x="43215" y="120667"/>
                        <a:pt x="40864" y="123021"/>
                        <a:pt x="37962" y="123021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229" name="Gruppieren 228">
            <a:extLst>
              <a:ext uri="{FF2B5EF4-FFF2-40B4-BE49-F238E27FC236}">
                <a16:creationId xmlns:a16="http://schemas.microsoft.com/office/drawing/2014/main" id="{BF1FD9B1-021C-9CA6-0AAB-2FDE03FA1291}"/>
              </a:ext>
            </a:extLst>
          </p:cNvPr>
          <p:cNvGrpSpPr/>
          <p:nvPr/>
        </p:nvGrpSpPr>
        <p:grpSpPr>
          <a:xfrm>
            <a:off x="479376" y="4788388"/>
            <a:ext cx="10836019" cy="538204"/>
            <a:chOff x="538047" y="4874113"/>
            <a:chExt cx="10836019" cy="538204"/>
          </a:xfrm>
        </p:grpSpPr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2E943052-FEF4-8B4E-2EA2-4ED234C425DD}"/>
                </a:ext>
              </a:extLst>
            </p:cNvPr>
            <p:cNvSpPr txBox="1"/>
            <p:nvPr/>
          </p:nvSpPr>
          <p:spPr>
            <a:xfrm>
              <a:off x="1330277" y="4919874"/>
              <a:ext cx="10043789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Bef>
                  <a:spcPts val="400"/>
                </a:spcBef>
                <a:spcAft>
                  <a:spcPts val="400"/>
                </a:spcAft>
                <a:buClr>
                  <a:schemeClr val="accent2"/>
                </a:buClr>
              </a:pPr>
              <a:r>
                <a:rPr lang="de-DE" sz="1600" dirty="0">
                  <a:latin typeface="DB Neo Office" pitchFamily="2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Die S21 Berlin ist </a:t>
              </a:r>
              <a:r>
                <a:rPr lang="de-DE" sz="1600" b="0" i="0" dirty="0">
                  <a:solidFill>
                    <a:srgbClr val="282D37"/>
                  </a:solidFill>
                  <a:effectLst/>
                  <a:latin typeface="DB Neo Office" pitchFamily="2" charset="0"/>
                </a:rPr>
                <a:t>für die </a:t>
              </a:r>
              <a:r>
                <a:rPr lang="de-DE" sz="1600" b="1" i="0" dirty="0">
                  <a:solidFill>
                    <a:srgbClr val="282D37"/>
                  </a:solidFill>
                  <a:effectLst/>
                  <a:latin typeface="DB Neo Office" pitchFamily="2" charset="0"/>
                </a:rPr>
                <a:t>Verkehrsentwicklung und den Klimaschutz in Berlin </a:t>
              </a:r>
              <a:br>
                <a:rPr lang="de-DE" sz="1600" b="1" i="0" dirty="0">
                  <a:solidFill>
                    <a:srgbClr val="282D37"/>
                  </a:solidFill>
                  <a:effectLst/>
                  <a:latin typeface="DB Neo Office" pitchFamily="2" charset="0"/>
                </a:rPr>
              </a:br>
              <a:r>
                <a:rPr lang="de-DE" sz="1600" b="0" i="0" dirty="0">
                  <a:solidFill>
                    <a:srgbClr val="282D37"/>
                  </a:solidFill>
                  <a:effectLst/>
                  <a:latin typeface="DB Neo Office" pitchFamily="2" charset="0"/>
                </a:rPr>
                <a:t>von besonderer Bedeutung</a:t>
              </a:r>
              <a:r>
                <a:rPr lang="de-DE" sz="1600" dirty="0">
                  <a:latin typeface="DB Neo Office" pitchFamily="2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. </a:t>
              </a:r>
              <a:r>
                <a:rPr lang="de-DE" sz="1600" b="0" i="0" dirty="0">
                  <a:solidFill>
                    <a:srgbClr val="282D37"/>
                  </a:solidFill>
                  <a:effectLst/>
                  <a:latin typeface="DB Neo Office" pitchFamily="2" charset="0"/>
                </a:rPr>
                <a:t>Die S-Bahn Berlin fähr</a:t>
              </a:r>
              <a:r>
                <a:rPr lang="de-DE" sz="1600" dirty="0">
                  <a:solidFill>
                    <a:srgbClr val="282D37"/>
                  </a:solidFill>
                  <a:latin typeface="DB Neo Office" pitchFamily="2" charset="0"/>
                </a:rPr>
                <a:t>t bereits seit 2017 mit 100% Ökostrom</a:t>
              </a:r>
              <a:r>
                <a:rPr lang="de-DE" sz="1600" baseline="30000" dirty="0">
                  <a:solidFill>
                    <a:srgbClr val="282D37"/>
                  </a:solidFill>
                  <a:latin typeface="DB Neo Office" pitchFamily="2" charset="0"/>
                </a:rPr>
                <a:t>3</a:t>
              </a:r>
              <a:r>
                <a:rPr lang="de-DE" sz="1600" dirty="0">
                  <a:latin typeface="DB Neo Office" pitchFamily="2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. </a:t>
              </a:r>
            </a:p>
          </p:txBody>
        </p:sp>
        <p:grpSp>
          <p:nvGrpSpPr>
            <p:cNvPr id="185" name="Gruppieren 184">
              <a:extLst>
                <a:ext uri="{FF2B5EF4-FFF2-40B4-BE49-F238E27FC236}">
                  <a16:creationId xmlns:a16="http://schemas.microsoft.com/office/drawing/2014/main" id="{5B85005B-4112-53B5-2B31-EC8445B33819}"/>
                </a:ext>
              </a:extLst>
            </p:cNvPr>
            <p:cNvGrpSpPr/>
            <p:nvPr/>
          </p:nvGrpSpPr>
          <p:grpSpPr>
            <a:xfrm>
              <a:off x="538047" y="4874113"/>
              <a:ext cx="541890" cy="529665"/>
              <a:chOff x="565279" y="5303098"/>
              <a:chExt cx="309121" cy="302147"/>
            </a:xfrm>
          </p:grpSpPr>
          <p:sp>
            <p:nvSpPr>
              <p:cNvPr id="186" name="Freihandform: Form 185">
                <a:extLst>
                  <a:ext uri="{FF2B5EF4-FFF2-40B4-BE49-F238E27FC236}">
                    <a16:creationId xmlns:a16="http://schemas.microsoft.com/office/drawing/2014/main" id="{D608A9E6-A176-401E-986D-6FE65CBC0E02}"/>
                  </a:ext>
                </a:extLst>
              </p:cNvPr>
              <p:cNvSpPr/>
              <p:nvPr/>
            </p:nvSpPr>
            <p:spPr>
              <a:xfrm>
                <a:off x="565279" y="5389102"/>
                <a:ext cx="127701" cy="112832"/>
              </a:xfrm>
              <a:custGeom>
                <a:avLst/>
                <a:gdLst>
                  <a:gd name="connsiteX0" fmla="*/ 70588 w 127701"/>
                  <a:gd name="connsiteY0" fmla="*/ 112830 h 112832"/>
                  <a:gd name="connsiteX1" fmla="*/ 21786 w 127701"/>
                  <a:gd name="connsiteY1" fmla="*/ 78693 h 112832"/>
                  <a:gd name="connsiteX2" fmla="*/ 164 w 127701"/>
                  <a:gd name="connsiteY2" fmla="*/ 13721 h 112832"/>
                  <a:gd name="connsiteX3" fmla="*/ 966 w 127701"/>
                  <a:gd name="connsiteY3" fmla="*/ 9099 h 112832"/>
                  <a:gd name="connsiteX4" fmla="*/ 4884 w 127701"/>
                  <a:gd name="connsiteY4" fmla="*/ 6522 h 112832"/>
                  <a:gd name="connsiteX5" fmla="*/ 103532 w 127701"/>
                  <a:gd name="connsiteY5" fmla="*/ 8131 h 112832"/>
                  <a:gd name="connsiteX6" fmla="*/ 127668 w 127701"/>
                  <a:gd name="connsiteY6" fmla="*/ 57785 h 112832"/>
                  <a:gd name="connsiteX7" fmla="*/ 90696 w 127701"/>
                  <a:gd name="connsiteY7" fmla="*/ 108738 h 112832"/>
                  <a:gd name="connsiteX8" fmla="*/ 70588 w 127701"/>
                  <a:gd name="connsiteY8" fmla="*/ 112833 h 112832"/>
                  <a:gd name="connsiteX9" fmla="*/ 13193 w 127701"/>
                  <a:gd name="connsiteY9" fmla="*/ 17071 h 112832"/>
                  <a:gd name="connsiteX10" fmla="*/ 32256 w 127701"/>
                  <a:gd name="connsiteY10" fmla="*/ 73252 h 112832"/>
                  <a:gd name="connsiteX11" fmla="*/ 86270 w 127701"/>
                  <a:gd name="connsiteY11" fmla="*/ 97795 h 112832"/>
                  <a:gd name="connsiteX12" fmla="*/ 115873 w 127701"/>
                  <a:gd name="connsiteY12" fmla="*/ 57400 h 112832"/>
                  <a:gd name="connsiteX13" fmla="*/ 97598 w 127701"/>
                  <a:gd name="connsiteY13" fmla="*/ 18326 h 112832"/>
                  <a:gd name="connsiteX14" fmla="*/ 13196 w 127701"/>
                  <a:gd name="connsiteY14" fmla="*/ 17071 h 112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7701" h="112832">
                    <a:moveTo>
                      <a:pt x="70588" y="112830"/>
                    </a:moveTo>
                    <a:cubicBezTo>
                      <a:pt x="51001" y="112830"/>
                      <a:pt x="33288" y="100820"/>
                      <a:pt x="21786" y="78693"/>
                    </a:cubicBezTo>
                    <a:cubicBezTo>
                      <a:pt x="10849" y="57649"/>
                      <a:pt x="596" y="15503"/>
                      <a:pt x="164" y="13721"/>
                    </a:cubicBezTo>
                    <a:cubicBezTo>
                      <a:pt x="-217" y="12137"/>
                      <a:pt x="73" y="10462"/>
                      <a:pt x="966" y="9099"/>
                    </a:cubicBezTo>
                    <a:cubicBezTo>
                      <a:pt x="1861" y="7733"/>
                      <a:pt x="3278" y="6803"/>
                      <a:pt x="4884" y="6522"/>
                    </a:cubicBezTo>
                    <a:cubicBezTo>
                      <a:pt x="43181" y="-172"/>
                      <a:pt x="81636" y="-4611"/>
                      <a:pt x="103532" y="8131"/>
                    </a:cubicBezTo>
                    <a:cubicBezTo>
                      <a:pt x="122163" y="18976"/>
                      <a:pt x="128214" y="40892"/>
                      <a:pt x="127668" y="57785"/>
                    </a:cubicBezTo>
                    <a:cubicBezTo>
                      <a:pt x="127128" y="74422"/>
                      <a:pt x="120277" y="96766"/>
                      <a:pt x="90696" y="108738"/>
                    </a:cubicBezTo>
                    <a:cubicBezTo>
                      <a:pt x="83891" y="111489"/>
                      <a:pt x="77134" y="112833"/>
                      <a:pt x="70588" y="112833"/>
                    </a:cubicBezTo>
                    <a:close/>
                    <a:moveTo>
                      <a:pt x="13193" y="17071"/>
                    </a:moveTo>
                    <a:cubicBezTo>
                      <a:pt x="16452" y="29554"/>
                      <a:pt x="24344" y="58024"/>
                      <a:pt x="32256" y="73252"/>
                    </a:cubicBezTo>
                    <a:cubicBezTo>
                      <a:pt x="44733" y="97255"/>
                      <a:pt x="64922" y="106429"/>
                      <a:pt x="86270" y="97795"/>
                    </a:cubicBezTo>
                    <a:cubicBezTo>
                      <a:pt x="105295" y="90097"/>
                      <a:pt x="115254" y="76504"/>
                      <a:pt x="115873" y="57400"/>
                    </a:cubicBezTo>
                    <a:cubicBezTo>
                      <a:pt x="116289" y="44526"/>
                      <a:pt x="111753" y="26570"/>
                      <a:pt x="97598" y="18326"/>
                    </a:cubicBezTo>
                    <a:cubicBezTo>
                      <a:pt x="80055" y="8118"/>
                      <a:pt x="45768" y="11623"/>
                      <a:pt x="13196" y="17071"/>
                    </a:cubicBezTo>
                    <a:close/>
                  </a:path>
                </a:pathLst>
              </a:custGeom>
              <a:solidFill>
                <a:srgbClr val="282D3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" name="Freihandform: Form 186">
                <a:extLst>
                  <a:ext uri="{FF2B5EF4-FFF2-40B4-BE49-F238E27FC236}">
                    <a16:creationId xmlns:a16="http://schemas.microsoft.com/office/drawing/2014/main" id="{93682DC3-C022-ED51-DDDB-D71EB2039CCC}"/>
                  </a:ext>
                </a:extLst>
              </p:cNvPr>
              <p:cNvSpPr/>
              <p:nvPr/>
            </p:nvSpPr>
            <p:spPr>
              <a:xfrm>
                <a:off x="755969" y="5303098"/>
                <a:ext cx="118431" cy="117794"/>
              </a:xfrm>
              <a:custGeom>
                <a:avLst/>
                <a:gdLst>
                  <a:gd name="connsiteX0" fmla="*/ 59008 w 118431"/>
                  <a:gd name="connsiteY0" fmla="*/ 117795 h 117794"/>
                  <a:gd name="connsiteX1" fmla="*/ 43377 w 118431"/>
                  <a:gd name="connsiteY1" fmla="*/ 115949 h 117794"/>
                  <a:gd name="connsiteX2" fmla="*/ 963 w 118431"/>
                  <a:gd name="connsiteY2" fmla="*/ 69431 h 117794"/>
                  <a:gd name="connsiteX3" fmla="*/ 44329 w 118431"/>
                  <a:gd name="connsiteY3" fmla="*/ 8026 h 117794"/>
                  <a:gd name="connsiteX4" fmla="*/ 112334 w 118431"/>
                  <a:gd name="connsiteY4" fmla="*/ 1 h 117794"/>
                  <a:gd name="connsiteX5" fmla="*/ 116700 w 118431"/>
                  <a:gd name="connsiteY5" fmla="*/ 1720 h 117794"/>
                  <a:gd name="connsiteX6" fmla="*/ 118428 w 118431"/>
                  <a:gd name="connsiteY6" fmla="*/ 6080 h 117794"/>
                  <a:gd name="connsiteX7" fmla="*/ 96889 w 118431"/>
                  <a:gd name="connsiteY7" fmla="*/ 102365 h 117794"/>
                  <a:gd name="connsiteX8" fmla="*/ 59011 w 118431"/>
                  <a:gd name="connsiteY8" fmla="*/ 117795 h 117794"/>
                  <a:gd name="connsiteX9" fmla="*/ 106415 w 118431"/>
                  <a:gd name="connsiteY9" fmla="*/ 12077 h 117794"/>
                  <a:gd name="connsiteX10" fmla="*/ 47541 w 118431"/>
                  <a:gd name="connsiteY10" fmla="*/ 19377 h 117794"/>
                  <a:gd name="connsiteX11" fmla="*/ 12572 w 118431"/>
                  <a:gd name="connsiteY11" fmla="*/ 67305 h 117794"/>
                  <a:gd name="connsiteX12" fmla="*/ 46140 w 118431"/>
                  <a:gd name="connsiteY12" fmla="*/ 104473 h 117794"/>
                  <a:gd name="connsiteX13" fmla="*/ 88103 w 118431"/>
                  <a:gd name="connsiteY13" fmla="*/ 94485 h 117794"/>
                  <a:gd name="connsiteX14" fmla="*/ 106419 w 118431"/>
                  <a:gd name="connsiteY14" fmla="*/ 12077 h 117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8431" h="117794">
                    <a:moveTo>
                      <a:pt x="59008" y="117795"/>
                    </a:moveTo>
                    <a:cubicBezTo>
                      <a:pt x="53506" y="117795"/>
                      <a:pt x="48172" y="117104"/>
                      <a:pt x="43377" y="115949"/>
                    </a:cubicBezTo>
                    <a:cubicBezTo>
                      <a:pt x="27193" y="112056"/>
                      <a:pt x="6698" y="100823"/>
                      <a:pt x="963" y="69431"/>
                    </a:cubicBezTo>
                    <a:cubicBezTo>
                      <a:pt x="-4306" y="40604"/>
                      <a:pt x="12313" y="17077"/>
                      <a:pt x="44329" y="8026"/>
                    </a:cubicBezTo>
                    <a:cubicBezTo>
                      <a:pt x="67153" y="1575"/>
                      <a:pt x="110501" y="64"/>
                      <a:pt x="112334" y="1"/>
                    </a:cubicBezTo>
                    <a:cubicBezTo>
                      <a:pt x="113961" y="-27"/>
                      <a:pt x="115545" y="572"/>
                      <a:pt x="116700" y="1720"/>
                    </a:cubicBezTo>
                    <a:cubicBezTo>
                      <a:pt x="117851" y="2872"/>
                      <a:pt x="118479" y="4449"/>
                      <a:pt x="118428" y="6080"/>
                    </a:cubicBezTo>
                    <a:cubicBezTo>
                      <a:pt x="117236" y="44942"/>
                      <a:pt x="113800" y="83501"/>
                      <a:pt x="96889" y="102365"/>
                    </a:cubicBezTo>
                    <a:cubicBezTo>
                      <a:pt x="86702" y="113732"/>
                      <a:pt x="72355" y="117795"/>
                      <a:pt x="59011" y="117795"/>
                    </a:cubicBezTo>
                    <a:close/>
                    <a:moveTo>
                      <a:pt x="106415" y="12077"/>
                    </a:moveTo>
                    <a:cubicBezTo>
                      <a:pt x="93535" y="12742"/>
                      <a:pt x="64052" y="14711"/>
                      <a:pt x="47541" y="19377"/>
                    </a:cubicBezTo>
                    <a:cubicBezTo>
                      <a:pt x="21506" y="26736"/>
                      <a:pt x="8433" y="44655"/>
                      <a:pt x="12572" y="67305"/>
                    </a:cubicBezTo>
                    <a:cubicBezTo>
                      <a:pt x="16263" y="87494"/>
                      <a:pt x="27556" y="99999"/>
                      <a:pt x="46140" y="104473"/>
                    </a:cubicBezTo>
                    <a:cubicBezTo>
                      <a:pt x="58658" y="107482"/>
                      <a:pt x="77169" y="106681"/>
                      <a:pt x="88103" y="94485"/>
                    </a:cubicBezTo>
                    <a:cubicBezTo>
                      <a:pt x="101649" y="79374"/>
                      <a:pt x="105154" y="45087"/>
                      <a:pt x="106419" y="12077"/>
                    </a:cubicBezTo>
                    <a:close/>
                  </a:path>
                </a:pathLst>
              </a:custGeom>
              <a:solidFill>
                <a:srgbClr val="282D3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" name="Freihandform: Form 187">
                <a:extLst>
                  <a:ext uri="{FF2B5EF4-FFF2-40B4-BE49-F238E27FC236}">
                    <a16:creationId xmlns:a16="http://schemas.microsoft.com/office/drawing/2014/main" id="{A942FBB0-952A-AEB2-F6C4-083E22319F66}"/>
                  </a:ext>
                </a:extLst>
              </p:cNvPr>
              <p:cNvSpPr/>
              <p:nvPr/>
            </p:nvSpPr>
            <p:spPr>
              <a:xfrm>
                <a:off x="623228" y="5430740"/>
                <a:ext cx="122574" cy="81390"/>
              </a:xfrm>
              <a:custGeom>
                <a:avLst/>
                <a:gdLst>
                  <a:gd name="connsiteX0" fmla="*/ 116669 w 122574"/>
                  <a:gd name="connsiteY0" fmla="*/ 81387 h 81390"/>
                  <a:gd name="connsiteX1" fmla="*/ 111028 w 122574"/>
                  <a:gd name="connsiteY1" fmla="*/ 77210 h 81390"/>
                  <a:gd name="connsiteX2" fmla="*/ 5017 w 122574"/>
                  <a:gd name="connsiteY2" fmla="*/ 11730 h 81390"/>
                  <a:gd name="connsiteX3" fmla="*/ 68 w 122574"/>
                  <a:gd name="connsiteY3" fmla="*/ 5014 h 81390"/>
                  <a:gd name="connsiteX4" fmla="*/ 6784 w 122574"/>
                  <a:gd name="connsiteY4" fmla="*/ 64 h 81390"/>
                  <a:gd name="connsiteX5" fmla="*/ 57169 w 122574"/>
                  <a:gd name="connsiteY5" fmla="*/ 14459 h 81390"/>
                  <a:gd name="connsiteX6" fmla="*/ 122316 w 122574"/>
                  <a:gd name="connsiteY6" fmla="*/ 73762 h 81390"/>
                  <a:gd name="connsiteX7" fmla="*/ 118398 w 122574"/>
                  <a:gd name="connsiteY7" fmla="*/ 81132 h 81390"/>
                  <a:gd name="connsiteX8" fmla="*/ 116669 w 122574"/>
                  <a:gd name="connsiteY8" fmla="*/ 81390 h 81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2574" h="81390">
                    <a:moveTo>
                      <a:pt x="116669" y="81387"/>
                    </a:moveTo>
                    <a:cubicBezTo>
                      <a:pt x="114142" y="81387"/>
                      <a:pt x="111808" y="79750"/>
                      <a:pt x="111028" y="77210"/>
                    </a:cubicBezTo>
                    <a:cubicBezTo>
                      <a:pt x="95378" y="26036"/>
                      <a:pt x="5919" y="11869"/>
                      <a:pt x="5017" y="11730"/>
                    </a:cubicBezTo>
                    <a:cubicBezTo>
                      <a:pt x="1796" y="11241"/>
                      <a:pt x="-421" y="8234"/>
                      <a:pt x="68" y="5014"/>
                    </a:cubicBezTo>
                    <a:cubicBezTo>
                      <a:pt x="557" y="1793"/>
                      <a:pt x="3576" y="-409"/>
                      <a:pt x="6784" y="64"/>
                    </a:cubicBezTo>
                    <a:cubicBezTo>
                      <a:pt x="7768" y="212"/>
                      <a:pt x="31238" y="3840"/>
                      <a:pt x="57169" y="14459"/>
                    </a:cubicBezTo>
                    <a:cubicBezTo>
                      <a:pt x="92325" y="28856"/>
                      <a:pt x="114852" y="49361"/>
                      <a:pt x="122316" y="73762"/>
                    </a:cubicBezTo>
                    <a:cubicBezTo>
                      <a:pt x="123268" y="76876"/>
                      <a:pt x="121514" y="80176"/>
                      <a:pt x="118398" y="81132"/>
                    </a:cubicBezTo>
                    <a:cubicBezTo>
                      <a:pt x="117823" y="81308"/>
                      <a:pt x="117243" y="81390"/>
                      <a:pt x="116669" y="81390"/>
                    </a:cubicBezTo>
                    <a:close/>
                  </a:path>
                </a:pathLst>
              </a:custGeom>
              <a:solidFill>
                <a:srgbClr val="EC001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" name="Freihandform: Form 188">
                <a:extLst>
                  <a:ext uri="{FF2B5EF4-FFF2-40B4-BE49-F238E27FC236}">
                    <a16:creationId xmlns:a16="http://schemas.microsoft.com/office/drawing/2014/main" id="{7CE06514-4045-1000-C79C-D339A60F3554}"/>
                  </a:ext>
                </a:extLst>
              </p:cNvPr>
              <p:cNvSpPr/>
              <p:nvPr/>
            </p:nvSpPr>
            <p:spPr>
              <a:xfrm>
                <a:off x="733998" y="5345757"/>
                <a:ext cx="94402" cy="259488"/>
              </a:xfrm>
              <a:custGeom>
                <a:avLst/>
                <a:gdLst>
                  <a:gd name="connsiteX0" fmla="*/ 6221 w 94402"/>
                  <a:gd name="connsiteY0" fmla="*/ 259486 h 259488"/>
                  <a:gd name="connsiteX1" fmla="*/ 322 w 94402"/>
                  <a:gd name="connsiteY1" fmla="*/ 253653 h 259488"/>
                  <a:gd name="connsiteX2" fmla="*/ 1703 w 94402"/>
                  <a:gd name="connsiteY2" fmla="*/ 122963 h 259488"/>
                  <a:gd name="connsiteX3" fmla="*/ 1959 w 94402"/>
                  <a:gd name="connsiteY3" fmla="*/ 121417 h 259488"/>
                  <a:gd name="connsiteX4" fmla="*/ 85131 w 94402"/>
                  <a:gd name="connsiteY4" fmla="*/ 1059 h 259488"/>
                  <a:gd name="connsiteX5" fmla="*/ 93345 w 94402"/>
                  <a:gd name="connsiteY5" fmla="*/ 2535 h 259488"/>
                  <a:gd name="connsiteX6" fmla="*/ 91872 w 94402"/>
                  <a:gd name="connsiteY6" fmla="*/ 10750 h 259488"/>
                  <a:gd name="connsiteX7" fmla="*/ 13606 w 94402"/>
                  <a:gd name="connsiteY7" fmla="*/ 123320 h 259488"/>
                  <a:gd name="connsiteX8" fmla="*/ 13347 w 94402"/>
                  <a:gd name="connsiteY8" fmla="*/ 124900 h 259488"/>
                  <a:gd name="connsiteX9" fmla="*/ 12120 w 94402"/>
                  <a:gd name="connsiteY9" fmla="*/ 253520 h 259488"/>
                  <a:gd name="connsiteX10" fmla="*/ 6287 w 94402"/>
                  <a:gd name="connsiteY10" fmla="*/ 259489 h 259488"/>
                  <a:gd name="connsiteX11" fmla="*/ 6221 w 94402"/>
                  <a:gd name="connsiteY11" fmla="*/ 259489 h 259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4402" h="259488">
                    <a:moveTo>
                      <a:pt x="6221" y="259486"/>
                    </a:moveTo>
                    <a:cubicBezTo>
                      <a:pt x="2994" y="259486"/>
                      <a:pt x="360" y="256890"/>
                      <a:pt x="322" y="253653"/>
                    </a:cubicBezTo>
                    <a:cubicBezTo>
                      <a:pt x="268" y="248975"/>
                      <a:pt x="-940" y="138910"/>
                      <a:pt x="1703" y="122963"/>
                    </a:cubicBezTo>
                    <a:lnTo>
                      <a:pt x="1959" y="121417"/>
                    </a:lnTo>
                    <a:cubicBezTo>
                      <a:pt x="5101" y="102133"/>
                      <a:pt x="13445" y="50915"/>
                      <a:pt x="85131" y="1059"/>
                    </a:cubicBezTo>
                    <a:cubicBezTo>
                      <a:pt x="87815" y="-805"/>
                      <a:pt x="91484" y="-143"/>
                      <a:pt x="93345" y="2535"/>
                    </a:cubicBezTo>
                    <a:cubicBezTo>
                      <a:pt x="95206" y="5210"/>
                      <a:pt x="94547" y="8889"/>
                      <a:pt x="91872" y="10750"/>
                    </a:cubicBezTo>
                    <a:cubicBezTo>
                      <a:pt x="24287" y="57751"/>
                      <a:pt x="16801" y="103698"/>
                      <a:pt x="13606" y="123320"/>
                    </a:cubicBezTo>
                    <a:lnTo>
                      <a:pt x="13347" y="124900"/>
                    </a:lnTo>
                    <a:cubicBezTo>
                      <a:pt x="11290" y="137291"/>
                      <a:pt x="11767" y="221949"/>
                      <a:pt x="12120" y="253520"/>
                    </a:cubicBezTo>
                    <a:cubicBezTo>
                      <a:pt x="12158" y="256779"/>
                      <a:pt x="9546" y="259451"/>
                      <a:pt x="6287" y="259489"/>
                    </a:cubicBezTo>
                    <a:lnTo>
                      <a:pt x="6221" y="259489"/>
                    </a:lnTo>
                    <a:close/>
                  </a:path>
                </a:pathLst>
              </a:custGeom>
              <a:solidFill>
                <a:srgbClr val="EC001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28" name="Gruppieren 227">
            <a:extLst>
              <a:ext uri="{FF2B5EF4-FFF2-40B4-BE49-F238E27FC236}">
                <a16:creationId xmlns:a16="http://schemas.microsoft.com/office/drawing/2014/main" id="{6A55148B-43FC-2F84-0EB5-478408C97FD8}"/>
              </a:ext>
            </a:extLst>
          </p:cNvPr>
          <p:cNvGrpSpPr/>
          <p:nvPr/>
        </p:nvGrpSpPr>
        <p:grpSpPr>
          <a:xfrm>
            <a:off x="479376" y="3888075"/>
            <a:ext cx="10828748" cy="612431"/>
            <a:chOff x="545319" y="3926175"/>
            <a:chExt cx="10828748" cy="612431"/>
          </a:xfrm>
        </p:grpSpPr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CE03FC56-5445-7174-36AB-5C0490B043F5}"/>
                </a:ext>
              </a:extLst>
            </p:cNvPr>
            <p:cNvSpPr txBox="1"/>
            <p:nvPr/>
          </p:nvSpPr>
          <p:spPr>
            <a:xfrm>
              <a:off x="1314403" y="3976454"/>
              <a:ext cx="10059664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Bef>
                  <a:spcPts val="400"/>
                </a:spcBef>
                <a:spcAft>
                  <a:spcPts val="400"/>
                </a:spcAft>
                <a:buClr>
                  <a:schemeClr val="accent2"/>
                </a:buClr>
              </a:pPr>
              <a:r>
                <a:rPr lang="de-DE" sz="1600" b="1" dirty="0">
                  <a:effectLst/>
                  <a:latin typeface="DB Neo Office" pitchFamily="2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Dringend benötigte S-Bahn-Ersatzstrecke in Nord-Süd-Richtung </a:t>
              </a:r>
              <a:r>
                <a:rPr lang="de-DE" sz="1600" dirty="0">
                  <a:effectLst/>
                  <a:latin typeface="DB Neo Office" pitchFamily="2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bei verkehrlichen Störungen oder Bauarbeiten im existierenden Nord-Süd-Tunnel.</a:t>
              </a:r>
            </a:p>
          </p:txBody>
        </p:sp>
        <p:grpSp>
          <p:nvGrpSpPr>
            <p:cNvPr id="216" name="Gruppieren 215">
              <a:extLst>
                <a:ext uri="{FF2B5EF4-FFF2-40B4-BE49-F238E27FC236}">
                  <a16:creationId xmlns:a16="http://schemas.microsoft.com/office/drawing/2014/main" id="{BAEFE315-64F2-F6B8-0D91-69D4BD118183}"/>
                </a:ext>
              </a:extLst>
            </p:cNvPr>
            <p:cNvGrpSpPr/>
            <p:nvPr/>
          </p:nvGrpSpPr>
          <p:grpSpPr>
            <a:xfrm>
              <a:off x="545319" y="3926175"/>
              <a:ext cx="579095" cy="612431"/>
              <a:chOff x="573600" y="3992165"/>
              <a:chExt cx="437531" cy="462718"/>
            </a:xfrm>
          </p:grpSpPr>
          <p:grpSp>
            <p:nvGrpSpPr>
              <p:cNvPr id="150" name="Grafik 11">
                <a:extLst>
                  <a:ext uri="{FF2B5EF4-FFF2-40B4-BE49-F238E27FC236}">
                    <a16:creationId xmlns:a16="http://schemas.microsoft.com/office/drawing/2014/main" id="{42998B32-822B-08D9-F037-707D302CE279}"/>
                  </a:ext>
                </a:extLst>
              </p:cNvPr>
              <p:cNvGrpSpPr/>
              <p:nvPr/>
            </p:nvGrpSpPr>
            <p:grpSpPr>
              <a:xfrm>
                <a:off x="654045" y="4126934"/>
                <a:ext cx="292438" cy="118788"/>
                <a:chOff x="974633" y="6211909"/>
                <a:chExt cx="171163" cy="77322"/>
              </a:xfrm>
              <a:solidFill>
                <a:srgbClr val="282D37"/>
              </a:solidFill>
            </p:grpSpPr>
            <p:sp>
              <p:nvSpPr>
                <p:cNvPr id="151" name="Freihandform: Form 150">
                  <a:extLst>
                    <a:ext uri="{FF2B5EF4-FFF2-40B4-BE49-F238E27FC236}">
                      <a16:creationId xmlns:a16="http://schemas.microsoft.com/office/drawing/2014/main" id="{3F8613F4-4F6E-5FC1-5FF3-E392FE0007D0}"/>
                    </a:ext>
                  </a:extLst>
                </p:cNvPr>
                <p:cNvSpPr/>
                <p:nvPr/>
              </p:nvSpPr>
              <p:spPr>
                <a:xfrm>
                  <a:off x="974633" y="6211909"/>
                  <a:ext cx="50327" cy="77322"/>
                </a:xfrm>
                <a:custGeom>
                  <a:avLst/>
                  <a:gdLst>
                    <a:gd name="connsiteX0" fmla="*/ 0 w 50327"/>
                    <a:gd name="connsiteY0" fmla="*/ 58675 h 77322"/>
                    <a:gd name="connsiteX1" fmla="*/ 20274 w 50327"/>
                    <a:gd name="connsiteY1" fmla="*/ 63976 h 77322"/>
                    <a:gd name="connsiteX2" fmla="*/ 33110 w 50327"/>
                    <a:gd name="connsiteY2" fmla="*/ 55928 h 77322"/>
                    <a:gd name="connsiteX3" fmla="*/ 17728 w 50327"/>
                    <a:gd name="connsiteY3" fmla="*/ 44008 h 77322"/>
                    <a:gd name="connsiteX4" fmla="*/ 409 w 50327"/>
                    <a:gd name="connsiteY4" fmla="*/ 22208 h 77322"/>
                    <a:gd name="connsiteX5" fmla="*/ 27101 w 50327"/>
                    <a:gd name="connsiteY5" fmla="*/ 0 h 77322"/>
                    <a:gd name="connsiteX6" fmla="*/ 45744 w 50327"/>
                    <a:gd name="connsiteY6" fmla="*/ 3466 h 77322"/>
                    <a:gd name="connsiteX7" fmla="*/ 45744 w 50327"/>
                    <a:gd name="connsiteY7" fmla="*/ 17527 h 77322"/>
                    <a:gd name="connsiteX8" fmla="*/ 27918 w 50327"/>
                    <a:gd name="connsiteY8" fmla="*/ 13346 h 77322"/>
                    <a:gd name="connsiteX9" fmla="*/ 16812 w 50327"/>
                    <a:gd name="connsiteY9" fmla="*/ 20377 h 77322"/>
                    <a:gd name="connsiteX10" fmla="*/ 20377 w 50327"/>
                    <a:gd name="connsiteY10" fmla="*/ 26386 h 77322"/>
                    <a:gd name="connsiteX11" fmla="*/ 31990 w 50327"/>
                    <a:gd name="connsiteY11" fmla="*/ 31990 h 77322"/>
                    <a:gd name="connsiteX12" fmla="*/ 50327 w 50327"/>
                    <a:gd name="connsiteY12" fmla="*/ 54501 h 77322"/>
                    <a:gd name="connsiteX13" fmla="*/ 21497 w 50327"/>
                    <a:gd name="connsiteY13" fmla="*/ 77322 h 77322"/>
                    <a:gd name="connsiteX14" fmla="*/ 3 w 50327"/>
                    <a:gd name="connsiteY14" fmla="*/ 72736 h 77322"/>
                    <a:gd name="connsiteX15" fmla="*/ 3 w 50327"/>
                    <a:gd name="connsiteY15" fmla="*/ 58675 h 77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50327" h="77322">
                      <a:moveTo>
                        <a:pt x="0" y="58675"/>
                      </a:moveTo>
                      <a:cubicBezTo>
                        <a:pt x="7844" y="62550"/>
                        <a:pt x="13244" y="63976"/>
                        <a:pt x="20274" y="63976"/>
                      </a:cubicBezTo>
                      <a:cubicBezTo>
                        <a:pt x="28728" y="63976"/>
                        <a:pt x="33110" y="61222"/>
                        <a:pt x="33110" y="55928"/>
                      </a:cubicBezTo>
                      <a:cubicBezTo>
                        <a:pt x="33110" y="51141"/>
                        <a:pt x="30972" y="49510"/>
                        <a:pt x="17728" y="44008"/>
                      </a:cubicBezTo>
                      <a:cubicBezTo>
                        <a:pt x="5195" y="38915"/>
                        <a:pt x="409" y="32902"/>
                        <a:pt x="409" y="22208"/>
                      </a:cubicBezTo>
                      <a:cubicBezTo>
                        <a:pt x="409" y="8151"/>
                        <a:pt x="10190" y="0"/>
                        <a:pt x="27101" y="0"/>
                      </a:cubicBezTo>
                      <a:cubicBezTo>
                        <a:pt x="33416" y="0"/>
                        <a:pt x="39020" y="1021"/>
                        <a:pt x="45744" y="3466"/>
                      </a:cubicBezTo>
                      <a:lnTo>
                        <a:pt x="45744" y="17527"/>
                      </a:lnTo>
                      <a:cubicBezTo>
                        <a:pt x="38510" y="14367"/>
                        <a:pt x="33927" y="13346"/>
                        <a:pt x="27918" y="13346"/>
                      </a:cubicBezTo>
                      <a:cubicBezTo>
                        <a:pt x="20584" y="13346"/>
                        <a:pt x="16812" y="15794"/>
                        <a:pt x="16812" y="20377"/>
                      </a:cubicBezTo>
                      <a:cubicBezTo>
                        <a:pt x="16812" y="23022"/>
                        <a:pt x="17731" y="24554"/>
                        <a:pt x="20377" y="26386"/>
                      </a:cubicBezTo>
                      <a:cubicBezTo>
                        <a:pt x="22416" y="27914"/>
                        <a:pt x="22821" y="28119"/>
                        <a:pt x="31990" y="31990"/>
                      </a:cubicBezTo>
                      <a:cubicBezTo>
                        <a:pt x="45744" y="37693"/>
                        <a:pt x="50327" y="43399"/>
                        <a:pt x="50327" y="54501"/>
                      </a:cubicBezTo>
                      <a:cubicBezTo>
                        <a:pt x="50327" y="69376"/>
                        <a:pt x="40243" y="77322"/>
                        <a:pt x="21497" y="77322"/>
                      </a:cubicBezTo>
                      <a:cubicBezTo>
                        <a:pt x="13448" y="77322"/>
                        <a:pt x="7133" y="75994"/>
                        <a:pt x="3" y="72736"/>
                      </a:cubicBezTo>
                      <a:lnTo>
                        <a:pt x="3" y="58675"/>
                      </a:ln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2" name="Freihandform: Form 151">
                  <a:extLst>
                    <a:ext uri="{FF2B5EF4-FFF2-40B4-BE49-F238E27FC236}">
                      <a16:creationId xmlns:a16="http://schemas.microsoft.com/office/drawing/2014/main" id="{907C7FE3-BEB3-286F-D5C6-C2D73C61FC5F}"/>
                    </a:ext>
                  </a:extLst>
                </p:cNvPr>
                <p:cNvSpPr/>
                <p:nvPr/>
              </p:nvSpPr>
              <p:spPr>
                <a:xfrm>
                  <a:off x="1034033" y="6213942"/>
                  <a:ext cx="48491" cy="73757"/>
                </a:xfrm>
                <a:custGeom>
                  <a:avLst/>
                  <a:gdLst>
                    <a:gd name="connsiteX0" fmla="*/ 0 w 48491"/>
                    <a:gd name="connsiteY0" fmla="*/ 63976 h 73757"/>
                    <a:gd name="connsiteX1" fmla="*/ 19457 w 48491"/>
                    <a:gd name="connsiteY1" fmla="*/ 45332 h 73757"/>
                    <a:gd name="connsiteX2" fmla="*/ 29644 w 48491"/>
                    <a:gd name="connsiteY2" fmla="*/ 23734 h 73757"/>
                    <a:gd name="connsiteX3" fmla="*/ 19457 w 48491"/>
                    <a:gd name="connsiteY3" fmla="*/ 13448 h 73757"/>
                    <a:gd name="connsiteX4" fmla="*/ 1730 w 48491"/>
                    <a:gd name="connsiteY4" fmla="*/ 19154 h 73757"/>
                    <a:gd name="connsiteX5" fmla="*/ 1730 w 48491"/>
                    <a:gd name="connsiteY5" fmla="*/ 5808 h 73757"/>
                    <a:gd name="connsiteX6" fmla="*/ 22818 w 48491"/>
                    <a:gd name="connsiteY6" fmla="*/ 0 h 73757"/>
                    <a:gd name="connsiteX7" fmla="*/ 47065 w 48491"/>
                    <a:gd name="connsiteY7" fmla="*/ 22821 h 73757"/>
                    <a:gd name="connsiteX8" fmla="*/ 37897 w 48491"/>
                    <a:gd name="connsiteY8" fmla="*/ 45332 h 73757"/>
                    <a:gd name="connsiteX9" fmla="*/ 22310 w 48491"/>
                    <a:gd name="connsiteY9" fmla="*/ 60514 h 73757"/>
                    <a:gd name="connsiteX10" fmla="*/ 48492 w 48491"/>
                    <a:gd name="connsiteY10" fmla="*/ 60514 h 73757"/>
                    <a:gd name="connsiteX11" fmla="*/ 47065 w 48491"/>
                    <a:gd name="connsiteY11" fmla="*/ 73758 h 73757"/>
                    <a:gd name="connsiteX12" fmla="*/ 0 w 48491"/>
                    <a:gd name="connsiteY12" fmla="*/ 73758 h 73757"/>
                    <a:gd name="connsiteX13" fmla="*/ 0 w 48491"/>
                    <a:gd name="connsiteY13" fmla="*/ 63976 h 73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48491" h="73757">
                      <a:moveTo>
                        <a:pt x="0" y="63976"/>
                      </a:moveTo>
                      <a:cubicBezTo>
                        <a:pt x="12328" y="52874"/>
                        <a:pt x="14875" y="50429"/>
                        <a:pt x="19457" y="45332"/>
                      </a:cubicBezTo>
                      <a:cubicBezTo>
                        <a:pt x="27199" y="36773"/>
                        <a:pt x="29644" y="31581"/>
                        <a:pt x="29644" y="23734"/>
                      </a:cubicBezTo>
                      <a:cubicBezTo>
                        <a:pt x="29644" y="16706"/>
                        <a:pt x="26488" y="13448"/>
                        <a:pt x="19457" y="13448"/>
                      </a:cubicBezTo>
                      <a:cubicBezTo>
                        <a:pt x="13956" y="13448"/>
                        <a:pt x="9373" y="14875"/>
                        <a:pt x="1730" y="19154"/>
                      </a:cubicBezTo>
                      <a:lnTo>
                        <a:pt x="1730" y="5808"/>
                      </a:lnTo>
                      <a:cubicBezTo>
                        <a:pt x="8045" y="1835"/>
                        <a:pt x="14769" y="0"/>
                        <a:pt x="22818" y="0"/>
                      </a:cubicBezTo>
                      <a:cubicBezTo>
                        <a:pt x="38707" y="0"/>
                        <a:pt x="47065" y="7848"/>
                        <a:pt x="47065" y="22821"/>
                      </a:cubicBezTo>
                      <a:cubicBezTo>
                        <a:pt x="47065" y="31275"/>
                        <a:pt x="44519" y="37386"/>
                        <a:pt x="37897" y="45332"/>
                      </a:cubicBezTo>
                      <a:cubicBezTo>
                        <a:pt x="34639" y="49207"/>
                        <a:pt x="30972" y="52666"/>
                        <a:pt x="22310" y="60514"/>
                      </a:cubicBezTo>
                      <a:lnTo>
                        <a:pt x="48492" y="60514"/>
                      </a:lnTo>
                      <a:lnTo>
                        <a:pt x="47065" y="73758"/>
                      </a:lnTo>
                      <a:lnTo>
                        <a:pt x="0" y="73758"/>
                      </a:lnTo>
                      <a:lnTo>
                        <a:pt x="0" y="63976"/>
                      </a:ln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3" name="Freihandform: Form 152">
                  <a:extLst>
                    <a:ext uri="{FF2B5EF4-FFF2-40B4-BE49-F238E27FC236}">
                      <a16:creationId xmlns:a16="http://schemas.microsoft.com/office/drawing/2014/main" id="{7EC5BEB7-C508-639F-F397-B09EB837CE4B}"/>
                    </a:ext>
                  </a:extLst>
                </p:cNvPr>
                <p:cNvSpPr/>
                <p:nvPr/>
              </p:nvSpPr>
              <p:spPr>
                <a:xfrm>
                  <a:off x="1097097" y="6215270"/>
                  <a:ext cx="48699" cy="72429"/>
                </a:xfrm>
                <a:custGeom>
                  <a:avLst/>
                  <a:gdLst>
                    <a:gd name="connsiteX0" fmla="*/ 0 w 48699"/>
                    <a:gd name="connsiteY0" fmla="*/ 62550 h 72429"/>
                    <a:gd name="connsiteX1" fmla="*/ 16812 w 48699"/>
                    <a:gd name="connsiteY1" fmla="*/ 62550 h 72429"/>
                    <a:gd name="connsiteX2" fmla="*/ 16812 w 48699"/>
                    <a:gd name="connsiteY2" fmla="*/ 16604 h 72429"/>
                    <a:gd name="connsiteX3" fmla="*/ 2448 w 48699"/>
                    <a:gd name="connsiteY3" fmla="*/ 22409 h 72429"/>
                    <a:gd name="connsiteX4" fmla="*/ 2448 w 48699"/>
                    <a:gd name="connsiteY4" fmla="*/ 10391 h 72429"/>
                    <a:gd name="connsiteX5" fmla="*/ 23941 w 48699"/>
                    <a:gd name="connsiteY5" fmla="*/ 0 h 72429"/>
                    <a:gd name="connsiteX6" fmla="*/ 34741 w 48699"/>
                    <a:gd name="connsiteY6" fmla="*/ 0 h 72429"/>
                    <a:gd name="connsiteX7" fmla="*/ 34741 w 48699"/>
                    <a:gd name="connsiteY7" fmla="*/ 62550 h 72429"/>
                    <a:gd name="connsiteX8" fmla="*/ 48700 w 48699"/>
                    <a:gd name="connsiteY8" fmla="*/ 62550 h 72429"/>
                    <a:gd name="connsiteX9" fmla="*/ 48700 w 48699"/>
                    <a:gd name="connsiteY9" fmla="*/ 72430 h 72429"/>
                    <a:gd name="connsiteX10" fmla="*/ 0 w 48699"/>
                    <a:gd name="connsiteY10" fmla="*/ 72430 h 72429"/>
                    <a:gd name="connsiteX11" fmla="*/ 0 w 48699"/>
                    <a:gd name="connsiteY11" fmla="*/ 62550 h 724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8699" h="72429">
                      <a:moveTo>
                        <a:pt x="0" y="62550"/>
                      </a:moveTo>
                      <a:lnTo>
                        <a:pt x="16812" y="62550"/>
                      </a:lnTo>
                      <a:lnTo>
                        <a:pt x="16812" y="16604"/>
                      </a:lnTo>
                      <a:lnTo>
                        <a:pt x="2448" y="22409"/>
                      </a:lnTo>
                      <a:lnTo>
                        <a:pt x="2448" y="10391"/>
                      </a:lnTo>
                      <a:lnTo>
                        <a:pt x="23941" y="0"/>
                      </a:lnTo>
                      <a:lnTo>
                        <a:pt x="34741" y="0"/>
                      </a:lnTo>
                      <a:lnTo>
                        <a:pt x="34741" y="62550"/>
                      </a:lnTo>
                      <a:lnTo>
                        <a:pt x="48700" y="62550"/>
                      </a:lnTo>
                      <a:lnTo>
                        <a:pt x="48700" y="72430"/>
                      </a:lnTo>
                      <a:lnTo>
                        <a:pt x="0" y="72430"/>
                      </a:lnTo>
                      <a:lnTo>
                        <a:pt x="0" y="62550"/>
                      </a:ln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54" name="Grafik 11">
                <a:extLst>
                  <a:ext uri="{FF2B5EF4-FFF2-40B4-BE49-F238E27FC236}">
                    <a16:creationId xmlns:a16="http://schemas.microsoft.com/office/drawing/2014/main" id="{739E435B-4427-FC79-4D3A-A872418C53BE}"/>
                  </a:ext>
                </a:extLst>
              </p:cNvPr>
              <p:cNvGrpSpPr/>
              <p:nvPr/>
            </p:nvGrpSpPr>
            <p:grpSpPr>
              <a:xfrm>
                <a:off x="573600" y="3992165"/>
                <a:ext cx="437531" cy="462718"/>
                <a:chOff x="922188" y="6112396"/>
                <a:chExt cx="270037" cy="285582"/>
              </a:xfrm>
              <a:solidFill>
                <a:srgbClr val="EC0016"/>
              </a:solidFill>
            </p:grpSpPr>
            <p:grpSp>
              <p:nvGrpSpPr>
                <p:cNvPr id="155" name="Grafik 11">
                  <a:extLst>
                    <a:ext uri="{FF2B5EF4-FFF2-40B4-BE49-F238E27FC236}">
                      <a16:creationId xmlns:a16="http://schemas.microsoft.com/office/drawing/2014/main" id="{95666EFC-4B84-5929-D03B-128546DFC1EC}"/>
                    </a:ext>
                  </a:extLst>
                </p:cNvPr>
                <p:cNvGrpSpPr/>
                <p:nvPr/>
              </p:nvGrpSpPr>
              <p:grpSpPr>
                <a:xfrm>
                  <a:off x="922188" y="6121965"/>
                  <a:ext cx="119947" cy="276013"/>
                  <a:chOff x="922188" y="6121965"/>
                  <a:chExt cx="119947" cy="276013"/>
                </a:xfrm>
                <a:solidFill>
                  <a:srgbClr val="EC0016"/>
                </a:solidFill>
              </p:grpSpPr>
              <p:sp>
                <p:nvSpPr>
                  <p:cNvPr id="159" name="Freihandform: Form 158">
                    <a:extLst>
                      <a:ext uri="{FF2B5EF4-FFF2-40B4-BE49-F238E27FC236}">
                        <a16:creationId xmlns:a16="http://schemas.microsoft.com/office/drawing/2014/main" id="{DD05F9B3-3A41-DD84-BE72-E7831D94FEC3}"/>
                      </a:ext>
                    </a:extLst>
                  </p:cNvPr>
                  <p:cNvSpPr/>
                  <p:nvPr/>
                </p:nvSpPr>
                <p:spPr>
                  <a:xfrm>
                    <a:off x="922188" y="6121965"/>
                    <a:ext cx="119947" cy="263273"/>
                  </a:xfrm>
                  <a:custGeom>
                    <a:avLst/>
                    <a:gdLst>
                      <a:gd name="connsiteX0" fmla="*/ 99595 w 119947"/>
                      <a:gd name="connsiteY0" fmla="*/ 263270 h 263273"/>
                      <a:gd name="connsiteX1" fmla="*/ 97862 w 119947"/>
                      <a:gd name="connsiteY1" fmla="*/ 263028 h 263273"/>
                      <a:gd name="connsiteX2" fmla="*/ 0 w 119947"/>
                      <a:gd name="connsiteY2" fmla="*/ 133220 h 263273"/>
                      <a:gd name="connsiteX3" fmla="*/ 112608 w 119947"/>
                      <a:gd name="connsiteY3" fmla="*/ 86 h 263273"/>
                      <a:gd name="connsiteX4" fmla="*/ 119860 w 119947"/>
                      <a:gd name="connsiteY4" fmla="*/ 5261 h 263273"/>
                      <a:gd name="connsiteX5" fmla="*/ 114685 w 119947"/>
                      <a:gd name="connsiteY5" fmla="*/ 12513 h 263273"/>
                      <a:gd name="connsiteX6" fmla="*/ 12597 w 119947"/>
                      <a:gd name="connsiteY6" fmla="*/ 133224 h 263273"/>
                      <a:gd name="connsiteX7" fmla="*/ 101325 w 119947"/>
                      <a:gd name="connsiteY7" fmla="*/ 250914 h 263273"/>
                      <a:gd name="connsiteX8" fmla="*/ 105652 w 119947"/>
                      <a:gd name="connsiteY8" fmla="*/ 258701 h 263273"/>
                      <a:gd name="connsiteX9" fmla="*/ 99599 w 119947"/>
                      <a:gd name="connsiteY9" fmla="*/ 263273 h 263273"/>
                      <a:gd name="connsiteX10" fmla="*/ 99595 w 119947"/>
                      <a:gd name="connsiteY10" fmla="*/ 263273 h 2632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19947" h="263273">
                        <a:moveTo>
                          <a:pt x="99595" y="263270"/>
                        </a:moveTo>
                        <a:cubicBezTo>
                          <a:pt x="99023" y="263270"/>
                          <a:pt x="98441" y="263191"/>
                          <a:pt x="97862" y="263028"/>
                        </a:cubicBezTo>
                        <a:cubicBezTo>
                          <a:pt x="40243" y="246563"/>
                          <a:pt x="0" y="193186"/>
                          <a:pt x="0" y="133220"/>
                        </a:cubicBezTo>
                        <a:cubicBezTo>
                          <a:pt x="0" y="66987"/>
                          <a:pt x="47358" y="10994"/>
                          <a:pt x="112608" y="86"/>
                        </a:cubicBezTo>
                        <a:cubicBezTo>
                          <a:pt x="116043" y="-483"/>
                          <a:pt x="119284" y="1829"/>
                          <a:pt x="119860" y="5261"/>
                        </a:cubicBezTo>
                        <a:cubicBezTo>
                          <a:pt x="120435" y="8693"/>
                          <a:pt x="118116" y="11937"/>
                          <a:pt x="114685" y="12513"/>
                        </a:cubicBezTo>
                        <a:cubicBezTo>
                          <a:pt x="55529" y="22403"/>
                          <a:pt x="12597" y="73166"/>
                          <a:pt x="12597" y="133224"/>
                        </a:cubicBezTo>
                        <a:cubicBezTo>
                          <a:pt x="12597" y="187595"/>
                          <a:pt x="49081" y="235995"/>
                          <a:pt x="101325" y="250914"/>
                        </a:cubicBezTo>
                        <a:cubicBezTo>
                          <a:pt x="104668" y="251871"/>
                          <a:pt x="106605" y="255357"/>
                          <a:pt x="105652" y="258701"/>
                        </a:cubicBezTo>
                        <a:cubicBezTo>
                          <a:pt x="104862" y="261465"/>
                          <a:pt x="102339" y="263273"/>
                          <a:pt x="99599" y="263273"/>
                        </a:cubicBezTo>
                        <a:lnTo>
                          <a:pt x="99595" y="263273"/>
                        </a:lnTo>
                        <a:close/>
                      </a:path>
                    </a:pathLst>
                  </a:custGeom>
                  <a:solidFill>
                    <a:srgbClr val="EC0016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60" name="Freihandform: Form 159">
                    <a:extLst>
                      <a:ext uri="{FF2B5EF4-FFF2-40B4-BE49-F238E27FC236}">
                        <a16:creationId xmlns:a16="http://schemas.microsoft.com/office/drawing/2014/main" id="{2179C2DB-1A53-2913-BEBE-89AE168411E0}"/>
                      </a:ext>
                    </a:extLst>
                  </p:cNvPr>
                  <p:cNvSpPr/>
                  <p:nvPr/>
                </p:nvSpPr>
                <p:spPr>
                  <a:xfrm>
                    <a:off x="992490" y="6352241"/>
                    <a:ext cx="43344" cy="45737"/>
                  </a:xfrm>
                  <a:custGeom>
                    <a:avLst/>
                    <a:gdLst>
                      <a:gd name="connsiteX0" fmla="*/ 0 w 43344"/>
                      <a:gd name="connsiteY0" fmla="*/ 41567 h 45737"/>
                      <a:gd name="connsiteX1" fmla="*/ 25708 w 43344"/>
                      <a:gd name="connsiteY1" fmla="*/ 25701 h 45737"/>
                      <a:gd name="connsiteX2" fmla="*/ 9826 w 43344"/>
                      <a:gd name="connsiteY2" fmla="*/ 0 h 45737"/>
                      <a:gd name="connsiteX3" fmla="*/ 27472 w 43344"/>
                      <a:gd name="connsiteY3" fmla="*/ 4174 h 45737"/>
                      <a:gd name="connsiteX4" fmla="*/ 43344 w 43344"/>
                      <a:gd name="connsiteY4" fmla="*/ 29869 h 45737"/>
                      <a:gd name="connsiteX5" fmla="*/ 17646 w 43344"/>
                      <a:gd name="connsiteY5" fmla="*/ 45738 h 45737"/>
                      <a:gd name="connsiteX6" fmla="*/ 0 w 43344"/>
                      <a:gd name="connsiteY6" fmla="*/ 41567 h 45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3344" h="45737">
                        <a:moveTo>
                          <a:pt x="0" y="41567"/>
                        </a:moveTo>
                        <a:lnTo>
                          <a:pt x="25708" y="25701"/>
                        </a:lnTo>
                        <a:lnTo>
                          <a:pt x="9826" y="0"/>
                        </a:lnTo>
                        <a:lnTo>
                          <a:pt x="27472" y="4174"/>
                        </a:lnTo>
                        <a:lnTo>
                          <a:pt x="43344" y="29869"/>
                        </a:lnTo>
                        <a:lnTo>
                          <a:pt x="17646" y="45738"/>
                        </a:lnTo>
                        <a:lnTo>
                          <a:pt x="0" y="41567"/>
                        </a:lnTo>
                        <a:close/>
                      </a:path>
                    </a:pathLst>
                  </a:custGeom>
                  <a:solidFill>
                    <a:srgbClr val="EC0016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56" name="Grafik 11">
                  <a:extLst>
                    <a:ext uri="{FF2B5EF4-FFF2-40B4-BE49-F238E27FC236}">
                      <a16:creationId xmlns:a16="http://schemas.microsoft.com/office/drawing/2014/main" id="{793F4E93-74D7-81C5-334F-C5DA5A509227}"/>
                    </a:ext>
                  </a:extLst>
                </p:cNvPr>
                <p:cNvGrpSpPr/>
                <p:nvPr/>
              </p:nvGrpSpPr>
              <p:grpSpPr>
                <a:xfrm>
                  <a:off x="1072281" y="6112396"/>
                  <a:ext cx="119943" cy="276012"/>
                  <a:chOff x="1072281" y="6112396"/>
                  <a:chExt cx="119943" cy="276012"/>
                </a:xfrm>
                <a:solidFill>
                  <a:srgbClr val="EC0016"/>
                </a:solidFill>
              </p:grpSpPr>
              <p:sp>
                <p:nvSpPr>
                  <p:cNvPr id="157" name="Freihandform: Form 156">
                    <a:extLst>
                      <a:ext uri="{FF2B5EF4-FFF2-40B4-BE49-F238E27FC236}">
                        <a16:creationId xmlns:a16="http://schemas.microsoft.com/office/drawing/2014/main" id="{A98E950F-F63E-1005-1630-96444315A18C}"/>
                      </a:ext>
                    </a:extLst>
                  </p:cNvPr>
                  <p:cNvSpPr/>
                  <p:nvPr/>
                </p:nvSpPr>
                <p:spPr>
                  <a:xfrm>
                    <a:off x="1072281" y="6125137"/>
                    <a:ext cx="119943" cy="263271"/>
                  </a:xfrm>
                  <a:custGeom>
                    <a:avLst/>
                    <a:gdLst>
                      <a:gd name="connsiteX0" fmla="*/ 6291 w 119943"/>
                      <a:gd name="connsiteY0" fmla="*/ 263271 h 263271"/>
                      <a:gd name="connsiteX1" fmla="*/ 88 w 119943"/>
                      <a:gd name="connsiteY1" fmla="*/ 258008 h 263271"/>
                      <a:gd name="connsiteX2" fmla="*/ 5263 w 119943"/>
                      <a:gd name="connsiteY2" fmla="*/ 250759 h 263271"/>
                      <a:gd name="connsiteX3" fmla="*/ 107350 w 119943"/>
                      <a:gd name="connsiteY3" fmla="*/ 130052 h 263271"/>
                      <a:gd name="connsiteX4" fmla="*/ 18622 w 119943"/>
                      <a:gd name="connsiteY4" fmla="*/ 12358 h 263271"/>
                      <a:gd name="connsiteX5" fmla="*/ 14295 w 119943"/>
                      <a:gd name="connsiteY5" fmla="*/ 4571 h 263271"/>
                      <a:gd name="connsiteX6" fmla="*/ 22081 w 119943"/>
                      <a:gd name="connsiteY6" fmla="*/ 244 h 263271"/>
                      <a:gd name="connsiteX7" fmla="*/ 119944 w 119943"/>
                      <a:gd name="connsiteY7" fmla="*/ 130052 h 263271"/>
                      <a:gd name="connsiteX8" fmla="*/ 7336 w 119943"/>
                      <a:gd name="connsiteY8" fmla="*/ 263183 h 263271"/>
                      <a:gd name="connsiteX9" fmla="*/ 6291 w 119943"/>
                      <a:gd name="connsiteY9" fmla="*/ 263271 h 2632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19943" h="263271">
                        <a:moveTo>
                          <a:pt x="6291" y="263271"/>
                        </a:moveTo>
                        <a:cubicBezTo>
                          <a:pt x="3268" y="263271"/>
                          <a:pt x="598" y="261089"/>
                          <a:pt x="88" y="258008"/>
                        </a:cubicBezTo>
                        <a:cubicBezTo>
                          <a:pt x="-488" y="254576"/>
                          <a:pt x="1831" y="251331"/>
                          <a:pt x="5263" y="250759"/>
                        </a:cubicBezTo>
                        <a:cubicBezTo>
                          <a:pt x="64414" y="240872"/>
                          <a:pt x="107350" y="190109"/>
                          <a:pt x="107350" y="130052"/>
                        </a:cubicBezTo>
                        <a:cubicBezTo>
                          <a:pt x="107350" y="75680"/>
                          <a:pt x="70863" y="27284"/>
                          <a:pt x="18622" y="12358"/>
                        </a:cubicBezTo>
                        <a:cubicBezTo>
                          <a:pt x="15279" y="11401"/>
                          <a:pt x="13338" y="7915"/>
                          <a:pt x="14295" y="4571"/>
                        </a:cubicBezTo>
                        <a:cubicBezTo>
                          <a:pt x="15252" y="1228"/>
                          <a:pt x="18748" y="-713"/>
                          <a:pt x="22081" y="244"/>
                        </a:cubicBezTo>
                        <a:cubicBezTo>
                          <a:pt x="79705" y="16705"/>
                          <a:pt x="119944" y="70086"/>
                          <a:pt x="119944" y="130052"/>
                        </a:cubicBezTo>
                        <a:cubicBezTo>
                          <a:pt x="119944" y="196289"/>
                          <a:pt x="72586" y="252278"/>
                          <a:pt x="7336" y="263183"/>
                        </a:cubicBezTo>
                        <a:cubicBezTo>
                          <a:pt x="6985" y="263244"/>
                          <a:pt x="6635" y="263271"/>
                          <a:pt x="6291" y="263271"/>
                        </a:cubicBezTo>
                        <a:close/>
                      </a:path>
                    </a:pathLst>
                  </a:custGeom>
                  <a:solidFill>
                    <a:srgbClr val="EC0016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8" name="Freihandform: Form 157">
                    <a:extLst>
                      <a:ext uri="{FF2B5EF4-FFF2-40B4-BE49-F238E27FC236}">
                        <a16:creationId xmlns:a16="http://schemas.microsoft.com/office/drawing/2014/main" id="{9B4A96A9-01C1-3A1A-CC57-62DB0F2BFF00}"/>
                      </a:ext>
                    </a:extLst>
                  </p:cNvPr>
                  <p:cNvSpPr/>
                  <p:nvPr/>
                </p:nvSpPr>
                <p:spPr>
                  <a:xfrm>
                    <a:off x="1078579" y="6112396"/>
                    <a:ext cx="43340" cy="45737"/>
                  </a:xfrm>
                  <a:custGeom>
                    <a:avLst/>
                    <a:gdLst>
                      <a:gd name="connsiteX0" fmla="*/ 43341 w 43340"/>
                      <a:gd name="connsiteY0" fmla="*/ 4174 h 45737"/>
                      <a:gd name="connsiteX1" fmla="*/ 17633 w 43340"/>
                      <a:gd name="connsiteY1" fmla="*/ 20040 h 45737"/>
                      <a:gd name="connsiteX2" fmla="*/ 33515 w 43340"/>
                      <a:gd name="connsiteY2" fmla="*/ 45738 h 45737"/>
                      <a:gd name="connsiteX3" fmla="*/ 15869 w 43340"/>
                      <a:gd name="connsiteY3" fmla="*/ 41567 h 45737"/>
                      <a:gd name="connsiteX4" fmla="*/ 0 w 43340"/>
                      <a:gd name="connsiteY4" fmla="*/ 15869 h 45737"/>
                      <a:gd name="connsiteX5" fmla="*/ 25695 w 43340"/>
                      <a:gd name="connsiteY5" fmla="*/ 0 h 45737"/>
                      <a:gd name="connsiteX6" fmla="*/ 43341 w 43340"/>
                      <a:gd name="connsiteY6" fmla="*/ 4174 h 45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3340" h="45737">
                        <a:moveTo>
                          <a:pt x="43341" y="4174"/>
                        </a:moveTo>
                        <a:lnTo>
                          <a:pt x="17633" y="20040"/>
                        </a:lnTo>
                        <a:lnTo>
                          <a:pt x="33515" y="45738"/>
                        </a:lnTo>
                        <a:lnTo>
                          <a:pt x="15869" y="41567"/>
                        </a:lnTo>
                        <a:lnTo>
                          <a:pt x="0" y="15869"/>
                        </a:lnTo>
                        <a:lnTo>
                          <a:pt x="25695" y="0"/>
                        </a:lnTo>
                        <a:lnTo>
                          <a:pt x="43341" y="4174"/>
                        </a:lnTo>
                        <a:close/>
                      </a:path>
                    </a:pathLst>
                  </a:custGeom>
                  <a:solidFill>
                    <a:srgbClr val="EC0016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215" name="Textfeld 214">
                <a:extLst>
                  <a:ext uri="{FF2B5EF4-FFF2-40B4-BE49-F238E27FC236}">
                    <a16:creationId xmlns:a16="http://schemas.microsoft.com/office/drawing/2014/main" id="{474A86CC-8FAB-FF4A-6522-ED051FA1CA4F}"/>
                  </a:ext>
                </a:extLst>
              </p:cNvPr>
              <p:cNvSpPr txBox="1"/>
              <p:nvPr/>
            </p:nvSpPr>
            <p:spPr>
              <a:xfrm>
                <a:off x="684642" y="4262736"/>
                <a:ext cx="225657" cy="9233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>
                  <a:buClr>
                    <a:schemeClr val="accent2"/>
                  </a:buClr>
                </a:pPr>
                <a:r>
                  <a:rPr lang="de-DE" sz="600" b="1"/>
                  <a:t>Berlin</a:t>
                </a:r>
              </a:p>
            </p:txBody>
          </p:sp>
        </p:grpSp>
      </p:grpSp>
      <p:grpSp>
        <p:nvGrpSpPr>
          <p:cNvPr id="226" name="Gruppieren 225">
            <a:extLst>
              <a:ext uri="{FF2B5EF4-FFF2-40B4-BE49-F238E27FC236}">
                <a16:creationId xmlns:a16="http://schemas.microsoft.com/office/drawing/2014/main" id="{409BCE17-2F06-CD0E-7A3F-76760395F32B}"/>
              </a:ext>
            </a:extLst>
          </p:cNvPr>
          <p:cNvGrpSpPr/>
          <p:nvPr/>
        </p:nvGrpSpPr>
        <p:grpSpPr>
          <a:xfrm>
            <a:off x="515380" y="2184729"/>
            <a:ext cx="10805397" cy="569305"/>
            <a:chOff x="568670" y="2222829"/>
            <a:chExt cx="10805397" cy="569305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A2E2B12F-6AE9-187C-9D7B-E456205F95EE}"/>
                </a:ext>
              </a:extLst>
            </p:cNvPr>
            <p:cNvSpPr txBox="1"/>
            <p:nvPr/>
          </p:nvSpPr>
          <p:spPr>
            <a:xfrm>
              <a:off x="1320753" y="2265199"/>
              <a:ext cx="10053314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Bef>
                  <a:spcPts val="400"/>
                </a:spcBef>
                <a:spcAft>
                  <a:spcPts val="400"/>
                </a:spcAft>
                <a:buClr>
                  <a:schemeClr val="accent2"/>
                </a:buClr>
              </a:pPr>
              <a:r>
                <a:rPr lang="de-DE" sz="1600" dirty="0">
                  <a:effectLst/>
                  <a:latin typeface="DB Neo Office" pitchFamily="2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Über </a:t>
              </a:r>
              <a:r>
                <a:rPr lang="de-DE" sz="1600" b="1" dirty="0">
                  <a:effectLst/>
                  <a:latin typeface="DB Neo Office" pitchFamily="2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00.000 Menschen leben fußläufig (400 Meter Radius) zu den S-Bahn-Linien</a:t>
              </a:r>
              <a:r>
                <a:rPr lang="de-DE" sz="1600" dirty="0">
                  <a:effectLst/>
                  <a:latin typeface="DB Neo Office" pitchFamily="2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 die auf der S21 Berlin verkehren werden (S21, S2 und S86</a:t>
              </a:r>
              <a:r>
                <a:rPr lang="de-DE" sz="1600" baseline="30000" dirty="0">
                  <a:effectLst/>
                  <a:latin typeface="DB Neo Office" pitchFamily="2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</a:t>
              </a:r>
              <a:r>
                <a:rPr lang="de-DE" sz="1600" dirty="0">
                  <a:effectLst/>
                  <a:latin typeface="DB Neo Office" pitchFamily="2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.</a:t>
              </a:r>
              <a:r>
                <a:rPr lang="de-DE" sz="1600" baseline="30000" dirty="0">
                  <a:latin typeface="DB Neo Office" pitchFamily="2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</a:t>
              </a:r>
              <a:r>
                <a:rPr lang="de-DE" sz="1600" dirty="0">
                  <a:effectLst/>
                  <a:latin typeface="DB Neo Office" pitchFamily="2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</a:p>
          </p:txBody>
        </p:sp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1FD1286F-BD38-0EF4-749F-A789F9200A4B}"/>
                </a:ext>
              </a:extLst>
            </p:cNvPr>
            <p:cNvGrpSpPr/>
            <p:nvPr/>
          </p:nvGrpSpPr>
          <p:grpSpPr>
            <a:xfrm>
              <a:off x="568670" y="2222829"/>
              <a:ext cx="569844" cy="569305"/>
              <a:chOff x="838701" y="5169820"/>
              <a:chExt cx="314100" cy="313803"/>
            </a:xfrm>
          </p:grpSpPr>
          <p:grpSp>
            <p:nvGrpSpPr>
              <p:cNvPr id="13" name="Grafik 2">
                <a:extLst>
                  <a:ext uri="{FF2B5EF4-FFF2-40B4-BE49-F238E27FC236}">
                    <a16:creationId xmlns:a16="http://schemas.microsoft.com/office/drawing/2014/main" id="{0AD69E26-8002-18E4-4D22-CC7C30564585}"/>
                  </a:ext>
                </a:extLst>
              </p:cNvPr>
              <p:cNvGrpSpPr/>
              <p:nvPr/>
            </p:nvGrpSpPr>
            <p:grpSpPr>
              <a:xfrm>
                <a:off x="838701" y="5169820"/>
                <a:ext cx="314100" cy="313803"/>
                <a:chOff x="838701" y="5157120"/>
                <a:chExt cx="314100" cy="313803"/>
              </a:xfrm>
            </p:grpSpPr>
            <p:grpSp>
              <p:nvGrpSpPr>
                <p:cNvPr id="35" name="Grafik 2">
                  <a:extLst>
                    <a:ext uri="{FF2B5EF4-FFF2-40B4-BE49-F238E27FC236}">
                      <a16:creationId xmlns:a16="http://schemas.microsoft.com/office/drawing/2014/main" id="{19F5FC8C-FEA2-F276-A218-D82B428A8484}"/>
                    </a:ext>
                  </a:extLst>
                </p:cNvPr>
                <p:cNvGrpSpPr/>
                <p:nvPr/>
              </p:nvGrpSpPr>
              <p:grpSpPr>
                <a:xfrm>
                  <a:off x="839004" y="5157120"/>
                  <a:ext cx="313796" cy="313803"/>
                  <a:chOff x="839004" y="5157120"/>
                  <a:chExt cx="313796" cy="313803"/>
                </a:xfrm>
                <a:solidFill>
                  <a:srgbClr val="EC0016"/>
                </a:solidFill>
              </p:grpSpPr>
              <p:sp>
                <p:nvSpPr>
                  <p:cNvPr id="55" name="Freihandform: Form 54">
                    <a:extLst>
                      <a:ext uri="{FF2B5EF4-FFF2-40B4-BE49-F238E27FC236}">
                        <a16:creationId xmlns:a16="http://schemas.microsoft.com/office/drawing/2014/main" id="{B6B5EC05-3619-EDB1-7BCC-A5B67EEB4070}"/>
                      </a:ext>
                    </a:extLst>
                  </p:cNvPr>
                  <p:cNvSpPr/>
                  <p:nvPr/>
                </p:nvSpPr>
                <p:spPr>
                  <a:xfrm>
                    <a:off x="1132077" y="5258936"/>
                    <a:ext cx="20724" cy="111044"/>
                  </a:xfrm>
                  <a:custGeom>
                    <a:avLst/>
                    <a:gdLst>
                      <a:gd name="connsiteX0" fmla="*/ 7011 w 20724"/>
                      <a:gd name="connsiteY0" fmla="*/ 111045 h 111044"/>
                      <a:gd name="connsiteX1" fmla="*/ 5137 w 20724"/>
                      <a:gd name="connsiteY1" fmla="*/ 110732 h 111044"/>
                      <a:gd name="connsiteX2" fmla="*/ 1484 w 20724"/>
                      <a:gd name="connsiteY2" fmla="*/ 103332 h 111044"/>
                      <a:gd name="connsiteX3" fmla="*/ 9055 w 20724"/>
                      <a:gd name="connsiteY3" fmla="*/ 57183 h 111044"/>
                      <a:gd name="connsiteX4" fmla="*/ 358 w 20724"/>
                      <a:gd name="connsiteY4" fmla="*/ 7841 h 111044"/>
                      <a:gd name="connsiteX5" fmla="*/ 3834 w 20724"/>
                      <a:gd name="connsiteY5" fmla="*/ 355 h 111044"/>
                      <a:gd name="connsiteX6" fmla="*/ 11320 w 20724"/>
                      <a:gd name="connsiteY6" fmla="*/ 3832 h 111044"/>
                      <a:gd name="connsiteX7" fmla="*/ 20724 w 20724"/>
                      <a:gd name="connsiteY7" fmla="*/ 57180 h 111044"/>
                      <a:gd name="connsiteX8" fmla="*/ 12535 w 20724"/>
                      <a:gd name="connsiteY8" fmla="*/ 107073 h 111044"/>
                      <a:gd name="connsiteX9" fmla="*/ 7008 w 20724"/>
                      <a:gd name="connsiteY9" fmla="*/ 111038 h 1110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0724" h="111044">
                        <a:moveTo>
                          <a:pt x="7011" y="111045"/>
                        </a:moveTo>
                        <a:cubicBezTo>
                          <a:pt x="6389" y="111045"/>
                          <a:pt x="5759" y="110944"/>
                          <a:pt x="5137" y="110732"/>
                        </a:cubicBezTo>
                        <a:cubicBezTo>
                          <a:pt x="2083" y="109698"/>
                          <a:pt x="449" y="106382"/>
                          <a:pt x="1484" y="103332"/>
                        </a:cubicBezTo>
                        <a:cubicBezTo>
                          <a:pt x="6509" y="88518"/>
                          <a:pt x="9055" y="72991"/>
                          <a:pt x="9055" y="57183"/>
                        </a:cubicBezTo>
                        <a:cubicBezTo>
                          <a:pt x="9055" y="40220"/>
                          <a:pt x="6128" y="23621"/>
                          <a:pt x="358" y="7841"/>
                        </a:cubicBezTo>
                        <a:cubicBezTo>
                          <a:pt x="-753" y="4816"/>
                          <a:pt x="809" y="1463"/>
                          <a:pt x="3834" y="355"/>
                        </a:cubicBezTo>
                        <a:cubicBezTo>
                          <a:pt x="6872" y="-749"/>
                          <a:pt x="10210" y="806"/>
                          <a:pt x="11320" y="3832"/>
                        </a:cubicBezTo>
                        <a:cubicBezTo>
                          <a:pt x="17563" y="20898"/>
                          <a:pt x="20724" y="38848"/>
                          <a:pt x="20724" y="57180"/>
                        </a:cubicBezTo>
                        <a:cubicBezTo>
                          <a:pt x="20724" y="74265"/>
                          <a:pt x="17970" y="91051"/>
                          <a:pt x="12535" y="107073"/>
                        </a:cubicBezTo>
                        <a:cubicBezTo>
                          <a:pt x="11708" y="109505"/>
                          <a:pt x="9443" y="111038"/>
                          <a:pt x="7008" y="111038"/>
                        </a:cubicBezTo>
                        <a:close/>
                      </a:path>
                    </a:pathLst>
                  </a:custGeom>
                  <a:solidFill>
                    <a:srgbClr val="EC0016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" name="Freihandform: Form 55">
                    <a:extLst>
                      <a:ext uri="{FF2B5EF4-FFF2-40B4-BE49-F238E27FC236}">
                        <a16:creationId xmlns:a16="http://schemas.microsoft.com/office/drawing/2014/main" id="{554D99F5-A404-DE45-FFEA-B38EBD447F11}"/>
                      </a:ext>
                    </a:extLst>
                  </p:cNvPr>
                  <p:cNvSpPr/>
                  <p:nvPr/>
                </p:nvSpPr>
                <p:spPr>
                  <a:xfrm>
                    <a:off x="940822" y="5157120"/>
                    <a:ext cx="111038" cy="20725"/>
                  </a:xfrm>
                  <a:custGeom>
                    <a:avLst/>
                    <a:gdLst>
                      <a:gd name="connsiteX0" fmla="*/ 5836 w 111038"/>
                      <a:gd name="connsiteY0" fmla="*/ 20726 h 20725"/>
                      <a:gd name="connsiteX1" fmla="*/ 357 w 111038"/>
                      <a:gd name="connsiteY1" fmla="*/ 16893 h 20725"/>
                      <a:gd name="connsiteX2" fmla="*/ 3833 w 111038"/>
                      <a:gd name="connsiteY2" fmla="*/ 9407 h 20725"/>
                      <a:gd name="connsiteX3" fmla="*/ 57181 w 111038"/>
                      <a:gd name="connsiteY3" fmla="*/ 0 h 20725"/>
                      <a:gd name="connsiteX4" fmla="*/ 107074 w 111038"/>
                      <a:gd name="connsiteY4" fmla="*/ 8189 h 20725"/>
                      <a:gd name="connsiteX5" fmla="*/ 110727 w 111038"/>
                      <a:gd name="connsiteY5" fmla="*/ 15590 h 20725"/>
                      <a:gd name="connsiteX6" fmla="*/ 103327 w 111038"/>
                      <a:gd name="connsiteY6" fmla="*/ 19243 h 20725"/>
                      <a:gd name="connsiteX7" fmla="*/ 57181 w 111038"/>
                      <a:gd name="connsiteY7" fmla="*/ 11672 h 20725"/>
                      <a:gd name="connsiteX8" fmla="*/ 7839 w 111038"/>
                      <a:gd name="connsiteY8" fmla="*/ 20366 h 20725"/>
                      <a:gd name="connsiteX9" fmla="*/ 5836 w 111038"/>
                      <a:gd name="connsiteY9" fmla="*/ 20723 h 207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11038" h="20725">
                        <a:moveTo>
                          <a:pt x="5836" y="20726"/>
                        </a:moveTo>
                        <a:cubicBezTo>
                          <a:pt x="3458" y="20726"/>
                          <a:pt x="1221" y="19259"/>
                          <a:pt x="357" y="16893"/>
                        </a:cubicBezTo>
                        <a:cubicBezTo>
                          <a:pt x="-751" y="13868"/>
                          <a:pt x="808" y="10514"/>
                          <a:pt x="3833" y="9407"/>
                        </a:cubicBezTo>
                        <a:cubicBezTo>
                          <a:pt x="20903" y="3164"/>
                          <a:pt x="38852" y="0"/>
                          <a:pt x="57181" y="0"/>
                        </a:cubicBezTo>
                        <a:cubicBezTo>
                          <a:pt x="74266" y="0"/>
                          <a:pt x="91052" y="2757"/>
                          <a:pt x="107074" y="8189"/>
                        </a:cubicBezTo>
                        <a:cubicBezTo>
                          <a:pt x="110128" y="9224"/>
                          <a:pt x="111762" y="12536"/>
                          <a:pt x="110727" y="15590"/>
                        </a:cubicBezTo>
                        <a:cubicBezTo>
                          <a:pt x="109690" y="18641"/>
                          <a:pt x="106365" y="20275"/>
                          <a:pt x="103327" y="19243"/>
                        </a:cubicBezTo>
                        <a:cubicBezTo>
                          <a:pt x="88513" y="14221"/>
                          <a:pt x="72985" y="11672"/>
                          <a:pt x="57181" y="11672"/>
                        </a:cubicBezTo>
                        <a:cubicBezTo>
                          <a:pt x="40222" y="11672"/>
                          <a:pt x="23622" y="14596"/>
                          <a:pt x="7839" y="20366"/>
                        </a:cubicBezTo>
                        <a:cubicBezTo>
                          <a:pt x="7180" y="20609"/>
                          <a:pt x="6502" y="20723"/>
                          <a:pt x="5836" y="20723"/>
                        </a:cubicBezTo>
                        <a:close/>
                      </a:path>
                    </a:pathLst>
                  </a:custGeom>
                  <a:solidFill>
                    <a:srgbClr val="EC0016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7" name="Freihandform: Form 56">
                    <a:extLst>
                      <a:ext uri="{FF2B5EF4-FFF2-40B4-BE49-F238E27FC236}">
                        <a16:creationId xmlns:a16="http://schemas.microsoft.com/office/drawing/2014/main" id="{817A8B72-61EF-6D95-304B-3C0512222D66}"/>
                      </a:ext>
                    </a:extLst>
                  </p:cNvPr>
                  <p:cNvSpPr/>
                  <p:nvPr/>
                </p:nvSpPr>
                <p:spPr>
                  <a:xfrm>
                    <a:off x="839004" y="5258059"/>
                    <a:ext cx="20725" cy="111042"/>
                  </a:xfrm>
                  <a:custGeom>
                    <a:avLst/>
                    <a:gdLst>
                      <a:gd name="connsiteX0" fmla="*/ 14884 w 20725"/>
                      <a:gd name="connsiteY0" fmla="*/ 111042 h 111042"/>
                      <a:gd name="connsiteX1" fmla="*/ 9404 w 20725"/>
                      <a:gd name="connsiteY1" fmla="*/ 107209 h 111042"/>
                      <a:gd name="connsiteX2" fmla="*/ 0 w 20725"/>
                      <a:gd name="connsiteY2" fmla="*/ 53858 h 111042"/>
                      <a:gd name="connsiteX3" fmla="*/ 8189 w 20725"/>
                      <a:gd name="connsiteY3" fmla="*/ 3965 h 111042"/>
                      <a:gd name="connsiteX4" fmla="*/ 15590 w 20725"/>
                      <a:gd name="connsiteY4" fmla="*/ 312 h 111042"/>
                      <a:gd name="connsiteX5" fmla="*/ 19243 w 20725"/>
                      <a:gd name="connsiteY5" fmla="*/ 7712 h 111042"/>
                      <a:gd name="connsiteX6" fmla="*/ 11675 w 20725"/>
                      <a:gd name="connsiteY6" fmla="*/ 53858 h 111042"/>
                      <a:gd name="connsiteX7" fmla="*/ 20369 w 20725"/>
                      <a:gd name="connsiteY7" fmla="*/ 103197 h 111042"/>
                      <a:gd name="connsiteX8" fmla="*/ 16893 w 20725"/>
                      <a:gd name="connsiteY8" fmla="*/ 110682 h 111042"/>
                      <a:gd name="connsiteX9" fmla="*/ 14890 w 20725"/>
                      <a:gd name="connsiteY9" fmla="*/ 111039 h 1110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0725" h="111042">
                        <a:moveTo>
                          <a:pt x="14884" y="111042"/>
                        </a:moveTo>
                        <a:cubicBezTo>
                          <a:pt x="12505" y="111042"/>
                          <a:pt x="10268" y="109572"/>
                          <a:pt x="9404" y="107209"/>
                        </a:cubicBezTo>
                        <a:cubicBezTo>
                          <a:pt x="3161" y="90140"/>
                          <a:pt x="0" y="72190"/>
                          <a:pt x="0" y="53858"/>
                        </a:cubicBezTo>
                        <a:cubicBezTo>
                          <a:pt x="0" y="36773"/>
                          <a:pt x="2757" y="19987"/>
                          <a:pt x="8189" y="3965"/>
                        </a:cubicBezTo>
                        <a:cubicBezTo>
                          <a:pt x="9224" y="914"/>
                          <a:pt x="12530" y="-726"/>
                          <a:pt x="15590" y="312"/>
                        </a:cubicBezTo>
                        <a:cubicBezTo>
                          <a:pt x="18641" y="1346"/>
                          <a:pt x="20278" y="4659"/>
                          <a:pt x="19243" y="7712"/>
                        </a:cubicBezTo>
                        <a:cubicBezTo>
                          <a:pt x="14221" y="22526"/>
                          <a:pt x="11675" y="38054"/>
                          <a:pt x="11675" y="53858"/>
                        </a:cubicBezTo>
                        <a:cubicBezTo>
                          <a:pt x="11675" y="70817"/>
                          <a:pt x="14600" y="87417"/>
                          <a:pt x="20369" y="103197"/>
                        </a:cubicBezTo>
                        <a:cubicBezTo>
                          <a:pt x="21477" y="106225"/>
                          <a:pt x="19918" y="109575"/>
                          <a:pt x="16893" y="110682"/>
                        </a:cubicBezTo>
                        <a:cubicBezTo>
                          <a:pt x="16234" y="110925"/>
                          <a:pt x="15555" y="111039"/>
                          <a:pt x="14890" y="111039"/>
                        </a:cubicBezTo>
                        <a:close/>
                      </a:path>
                    </a:pathLst>
                  </a:custGeom>
                  <a:solidFill>
                    <a:srgbClr val="EC0016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" name="Freihandform: Form 61">
                    <a:extLst>
                      <a:ext uri="{FF2B5EF4-FFF2-40B4-BE49-F238E27FC236}">
                        <a16:creationId xmlns:a16="http://schemas.microsoft.com/office/drawing/2014/main" id="{21FE7C45-00A0-483A-4480-F6849AFA0848}"/>
                      </a:ext>
                    </a:extLst>
                  </p:cNvPr>
                  <p:cNvSpPr/>
                  <p:nvPr/>
                </p:nvSpPr>
                <p:spPr>
                  <a:xfrm>
                    <a:off x="939941" y="5450194"/>
                    <a:ext cx="111037" cy="20728"/>
                  </a:xfrm>
                  <a:custGeom>
                    <a:avLst/>
                    <a:gdLst>
                      <a:gd name="connsiteX0" fmla="*/ 53857 w 111037"/>
                      <a:gd name="connsiteY0" fmla="*/ 20728 h 20728"/>
                      <a:gd name="connsiteX1" fmla="*/ 3963 w 111037"/>
                      <a:gd name="connsiteY1" fmla="*/ 12539 h 20728"/>
                      <a:gd name="connsiteX2" fmla="*/ 310 w 111037"/>
                      <a:gd name="connsiteY2" fmla="*/ 5138 h 20728"/>
                      <a:gd name="connsiteX3" fmla="*/ 7711 w 111037"/>
                      <a:gd name="connsiteY3" fmla="*/ 1485 h 20728"/>
                      <a:gd name="connsiteX4" fmla="*/ 53857 w 111037"/>
                      <a:gd name="connsiteY4" fmla="*/ 9056 h 20728"/>
                      <a:gd name="connsiteX5" fmla="*/ 103198 w 111037"/>
                      <a:gd name="connsiteY5" fmla="*/ 359 h 20728"/>
                      <a:gd name="connsiteX6" fmla="*/ 110681 w 111037"/>
                      <a:gd name="connsiteY6" fmla="*/ 3839 h 20728"/>
                      <a:gd name="connsiteX7" fmla="*/ 107202 w 111037"/>
                      <a:gd name="connsiteY7" fmla="*/ 11321 h 20728"/>
                      <a:gd name="connsiteX8" fmla="*/ 53854 w 111037"/>
                      <a:gd name="connsiteY8" fmla="*/ 20725 h 207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11037" h="20728">
                        <a:moveTo>
                          <a:pt x="53857" y="20728"/>
                        </a:moveTo>
                        <a:cubicBezTo>
                          <a:pt x="36771" y="20728"/>
                          <a:pt x="19986" y="17974"/>
                          <a:pt x="3963" y="12539"/>
                        </a:cubicBezTo>
                        <a:cubicBezTo>
                          <a:pt x="913" y="11504"/>
                          <a:pt x="-724" y="8189"/>
                          <a:pt x="310" y="5138"/>
                        </a:cubicBezTo>
                        <a:cubicBezTo>
                          <a:pt x="1345" y="2085"/>
                          <a:pt x="4648" y="457"/>
                          <a:pt x="7711" y="1485"/>
                        </a:cubicBezTo>
                        <a:cubicBezTo>
                          <a:pt x="22525" y="6511"/>
                          <a:pt x="38052" y="9056"/>
                          <a:pt x="53857" y="9056"/>
                        </a:cubicBezTo>
                        <a:cubicBezTo>
                          <a:pt x="70813" y="9056"/>
                          <a:pt x="87410" y="6129"/>
                          <a:pt x="103198" y="359"/>
                        </a:cubicBezTo>
                        <a:cubicBezTo>
                          <a:pt x="106221" y="-755"/>
                          <a:pt x="109577" y="810"/>
                          <a:pt x="110681" y="3839"/>
                        </a:cubicBezTo>
                        <a:cubicBezTo>
                          <a:pt x="111788" y="6864"/>
                          <a:pt x="110230" y="10214"/>
                          <a:pt x="107202" y="11321"/>
                        </a:cubicBezTo>
                        <a:cubicBezTo>
                          <a:pt x="90129" y="17564"/>
                          <a:pt x="72179" y="20725"/>
                          <a:pt x="53854" y="20725"/>
                        </a:cubicBezTo>
                        <a:close/>
                      </a:path>
                    </a:pathLst>
                  </a:custGeom>
                  <a:solidFill>
                    <a:srgbClr val="EC0016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6" name="Freihandform: Form 35">
                  <a:extLst>
                    <a:ext uri="{FF2B5EF4-FFF2-40B4-BE49-F238E27FC236}">
                      <a16:creationId xmlns:a16="http://schemas.microsoft.com/office/drawing/2014/main" id="{0B976671-C6A8-D955-72BE-7C66BC52DE01}"/>
                    </a:ext>
                  </a:extLst>
                </p:cNvPr>
                <p:cNvSpPr/>
                <p:nvPr/>
              </p:nvSpPr>
              <p:spPr>
                <a:xfrm>
                  <a:off x="933529" y="5250055"/>
                  <a:ext cx="125276" cy="125279"/>
                </a:xfrm>
                <a:custGeom>
                  <a:avLst/>
                  <a:gdLst>
                    <a:gd name="connsiteX0" fmla="*/ 62635 w 125276"/>
                    <a:gd name="connsiteY0" fmla="*/ 0 h 125279"/>
                    <a:gd name="connsiteX1" fmla="*/ 0 w 125276"/>
                    <a:gd name="connsiteY1" fmla="*/ 62638 h 125279"/>
                    <a:gd name="connsiteX2" fmla="*/ 62635 w 125276"/>
                    <a:gd name="connsiteY2" fmla="*/ 125280 h 125279"/>
                    <a:gd name="connsiteX3" fmla="*/ 125276 w 125276"/>
                    <a:gd name="connsiteY3" fmla="*/ 62638 h 125279"/>
                    <a:gd name="connsiteX4" fmla="*/ 62635 w 125276"/>
                    <a:gd name="connsiteY4" fmla="*/ 0 h 125279"/>
                    <a:gd name="connsiteX5" fmla="*/ 22515 w 125276"/>
                    <a:gd name="connsiteY5" fmla="*/ 100749 h 125279"/>
                    <a:gd name="connsiteX6" fmla="*/ 22515 w 125276"/>
                    <a:gd name="connsiteY6" fmla="*/ 77654 h 125279"/>
                    <a:gd name="connsiteX7" fmla="*/ 78080 w 125276"/>
                    <a:gd name="connsiteY7" fmla="*/ 88336 h 125279"/>
                    <a:gd name="connsiteX8" fmla="*/ 21647 w 125276"/>
                    <a:gd name="connsiteY8" fmla="*/ 42723 h 125279"/>
                    <a:gd name="connsiteX9" fmla="*/ 97566 w 125276"/>
                    <a:gd name="connsiteY9" fmla="*/ 24246 h 125279"/>
                    <a:gd name="connsiteX10" fmla="*/ 97566 w 125276"/>
                    <a:gd name="connsiteY10" fmla="*/ 43733 h 125279"/>
                    <a:gd name="connsiteX11" fmla="*/ 61913 w 125276"/>
                    <a:gd name="connsiteY11" fmla="*/ 24392 h 125279"/>
                    <a:gd name="connsiteX12" fmla="*/ 45606 w 125276"/>
                    <a:gd name="connsiteY12" fmla="*/ 33919 h 125279"/>
                    <a:gd name="connsiteX13" fmla="*/ 103629 w 125276"/>
                    <a:gd name="connsiteY13" fmla="*/ 79967 h 125279"/>
                    <a:gd name="connsiteX14" fmla="*/ 22515 w 125276"/>
                    <a:gd name="connsiteY14" fmla="*/ 100749 h 1252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25276" h="125279">
                      <a:moveTo>
                        <a:pt x="62635" y="0"/>
                      </a:moveTo>
                      <a:cubicBezTo>
                        <a:pt x="28045" y="0"/>
                        <a:pt x="0" y="28045"/>
                        <a:pt x="0" y="62638"/>
                      </a:cubicBezTo>
                      <a:cubicBezTo>
                        <a:pt x="0" y="97232"/>
                        <a:pt x="28045" y="125280"/>
                        <a:pt x="62635" y="125280"/>
                      </a:cubicBezTo>
                      <a:cubicBezTo>
                        <a:pt x="97226" y="125280"/>
                        <a:pt x="125276" y="97235"/>
                        <a:pt x="125276" y="62638"/>
                      </a:cubicBezTo>
                      <a:cubicBezTo>
                        <a:pt x="125276" y="28041"/>
                        <a:pt x="97229" y="0"/>
                        <a:pt x="62635" y="0"/>
                      </a:cubicBezTo>
                      <a:close/>
                      <a:moveTo>
                        <a:pt x="22515" y="100749"/>
                      </a:moveTo>
                      <a:lnTo>
                        <a:pt x="22515" y="77654"/>
                      </a:lnTo>
                      <a:cubicBezTo>
                        <a:pt x="37382" y="101327"/>
                        <a:pt x="77648" y="107967"/>
                        <a:pt x="78080" y="88336"/>
                      </a:cubicBezTo>
                      <a:cubicBezTo>
                        <a:pt x="78370" y="70872"/>
                        <a:pt x="26411" y="83863"/>
                        <a:pt x="21647" y="42723"/>
                      </a:cubicBezTo>
                      <a:cubicBezTo>
                        <a:pt x="21647" y="8659"/>
                        <a:pt x="69563" y="2741"/>
                        <a:pt x="97566" y="24246"/>
                      </a:cubicBezTo>
                      <a:lnTo>
                        <a:pt x="97566" y="43733"/>
                      </a:lnTo>
                      <a:cubicBezTo>
                        <a:pt x="87317" y="33051"/>
                        <a:pt x="72884" y="24392"/>
                        <a:pt x="61913" y="24392"/>
                      </a:cubicBezTo>
                      <a:cubicBezTo>
                        <a:pt x="50941" y="24392"/>
                        <a:pt x="45606" y="28578"/>
                        <a:pt x="45606" y="33919"/>
                      </a:cubicBezTo>
                      <a:cubicBezTo>
                        <a:pt x="45461" y="54559"/>
                        <a:pt x="103629" y="45032"/>
                        <a:pt x="103629" y="79967"/>
                      </a:cubicBezTo>
                      <a:cubicBezTo>
                        <a:pt x="103629" y="114175"/>
                        <a:pt x="56285" y="126589"/>
                        <a:pt x="22515" y="10074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Freihandform: Form 36">
                  <a:extLst>
                    <a:ext uri="{FF2B5EF4-FFF2-40B4-BE49-F238E27FC236}">
                      <a16:creationId xmlns:a16="http://schemas.microsoft.com/office/drawing/2014/main" id="{1228F068-7985-3958-A040-9270B23F5CC9}"/>
                    </a:ext>
                  </a:extLst>
                </p:cNvPr>
                <p:cNvSpPr/>
                <p:nvPr/>
              </p:nvSpPr>
              <p:spPr>
                <a:xfrm>
                  <a:off x="879902" y="5185594"/>
                  <a:ext cx="41231" cy="59470"/>
                </a:xfrm>
                <a:custGeom>
                  <a:avLst/>
                  <a:gdLst>
                    <a:gd name="connsiteX0" fmla="*/ 31595 w 41231"/>
                    <a:gd name="connsiteY0" fmla="*/ 59471 h 59470"/>
                    <a:gd name="connsiteX1" fmla="*/ 26592 w 41231"/>
                    <a:gd name="connsiteY1" fmla="*/ 55187 h 59470"/>
                    <a:gd name="connsiteX2" fmla="*/ 22443 w 41231"/>
                    <a:gd name="connsiteY2" fmla="*/ 40480 h 59470"/>
                    <a:gd name="connsiteX3" fmla="*/ 10670 w 41231"/>
                    <a:gd name="connsiteY3" fmla="*/ 57669 h 59470"/>
                    <a:gd name="connsiteX4" fmla="*/ 6945 w 41231"/>
                    <a:gd name="connsiteY4" fmla="*/ 58408 h 59470"/>
                    <a:gd name="connsiteX5" fmla="*/ 3777 w 41231"/>
                    <a:gd name="connsiteY5" fmla="*/ 56281 h 59470"/>
                    <a:gd name="connsiteX6" fmla="*/ 5169 w 41231"/>
                    <a:gd name="connsiteY6" fmla="*/ 49401 h 59470"/>
                    <a:gd name="connsiteX7" fmla="*/ 13601 w 41231"/>
                    <a:gd name="connsiteY7" fmla="*/ 34357 h 59470"/>
                    <a:gd name="connsiteX8" fmla="*/ 11437 w 41231"/>
                    <a:gd name="connsiteY8" fmla="*/ 29871 h 59470"/>
                    <a:gd name="connsiteX9" fmla="*/ 10724 w 41231"/>
                    <a:gd name="connsiteY9" fmla="*/ 17615 h 59470"/>
                    <a:gd name="connsiteX10" fmla="*/ 9285 w 41231"/>
                    <a:gd name="connsiteY10" fmla="*/ 23262 h 59470"/>
                    <a:gd name="connsiteX11" fmla="*/ 7058 w 41231"/>
                    <a:gd name="connsiteY11" fmla="*/ 27025 h 59470"/>
                    <a:gd name="connsiteX12" fmla="*/ 6629 w 41231"/>
                    <a:gd name="connsiteY12" fmla="*/ 27240 h 59470"/>
                    <a:gd name="connsiteX13" fmla="*/ 4500 w 41231"/>
                    <a:gd name="connsiteY13" fmla="*/ 27924 h 59470"/>
                    <a:gd name="connsiteX14" fmla="*/ 2613 w 41231"/>
                    <a:gd name="connsiteY14" fmla="*/ 27786 h 59470"/>
                    <a:gd name="connsiteX15" fmla="*/ 1525 w 41231"/>
                    <a:gd name="connsiteY15" fmla="*/ 26407 h 59470"/>
                    <a:gd name="connsiteX16" fmla="*/ 2386 w 41231"/>
                    <a:gd name="connsiteY16" fmla="*/ 24877 h 59470"/>
                    <a:gd name="connsiteX17" fmla="*/ 4184 w 41231"/>
                    <a:gd name="connsiteY17" fmla="*/ 21454 h 59470"/>
                    <a:gd name="connsiteX18" fmla="*/ 1553 w 41231"/>
                    <a:gd name="connsiteY18" fmla="*/ 18587 h 59470"/>
                    <a:gd name="connsiteX19" fmla="*/ 1553 w 41231"/>
                    <a:gd name="connsiteY19" fmla="*/ 18580 h 59470"/>
                    <a:gd name="connsiteX20" fmla="*/ 1244 w 41231"/>
                    <a:gd name="connsiteY20" fmla="*/ 18514 h 59470"/>
                    <a:gd name="connsiteX21" fmla="*/ 232 w 41231"/>
                    <a:gd name="connsiteY21" fmla="*/ 17738 h 59470"/>
                    <a:gd name="connsiteX22" fmla="*/ 55 w 41231"/>
                    <a:gd name="connsiteY22" fmla="*/ 16501 h 59470"/>
                    <a:gd name="connsiteX23" fmla="*/ 16014 w 41231"/>
                    <a:gd name="connsiteY23" fmla="*/ 1331 h 59470"/>
                    <a:gd name="connsiteX24" fmla="*/ 23469 w 41231"/>
                    <a:gd name="connsiteY24" fmla="*/ 526 h 59470"/>
                    <a:gd name="connsiteX25" fmla="*/ 28560 w 41231"/>
                    <a:gd name="connsiteY25" fmla="*/ 10798 h 59470"/>
                    <a:gd name="connsiteX26" fmla="*/ 37257 w 41231"/>
                    <a:gd name="connsiteY26" fmla="*/ 17019 h 59470"/>
                    <a:gd name="connsiteX27" fmla="*/ 41131 w 41231"/>
                    <a:gd name="connsiteY27" fmla="*/ 22871 h 59470"/>
                    <a:gd name="connsiteX28" fmla="*/ 35286 w 41231"/>
                    <a:gd name="connsiteY28" fmla="*/ 26757 h 59470"/>
                    <a:gd name="connsiteX29" fmla="*/ 27541 w 41231"/>
                    <a:gd name="connsiteY29" fmla="*/ 23530 h 59470"/>
                    <a:gd name="connsiteX30" fmla="*/ 27857 w 41231"/>
                    <a:gd name="connsiteY30" fmla="*/ 26413 h 59470"/>
                    <a:gd name="connsiteX31" fmla="*/ 27920 w 41231"/>
                    <a:gd name="connsiteY31" fmla="*/ 30218 h 59470"/>
                    <a:gd name="connsiteX32" fmla="*/ 36428 w 41231"/>
                    <a:gd name="connsiteY32" fmla="*/ 53846 h 59470"/>
                    <a:gd name="connsiteX33" fmla="*/ 32166 w 41231"/>
                    <a:gd name="connsiteY33" fmla="*/ 59439 h 59470"/>
                    <a:gd name="connsiteX34" fmla="*/ 31592 w 41231"/>
                    <a:gd name="connsiteY34" fmla="*/ 59467 h 59470"/>
                    <a:gd name="connsiteX35" fmla="*/ 21815 w 41231"/>
                    <a:gd name="connsiteY35" fmla="*/ 34429 h 59470"/>
                    <a:gd name="connsiteX36" fmla="*/ 23134 w 41231"/>
                    <a:gd name="connsiteY36" fmla="*/ 35145 h 59470"/>
                    <a:gd name="connsiteX37" fmla="*/ 29712 w 41231"/>
                    <a:gd name="connsiteY37" fmla="*/ 54754 h 59470"/>
                    <a:gd name="connsiteX38" fmla="*/ 31800 w 41231"/>
                    <a:gd name="connsiteY38" fmla="*/ 56310 h 59470"/>
                    <a:gd name="connsiteX39" fmla="*/ 33298 w 41231"/>
                    <a:gd name="connsiteY39" fmla="*/ 54269 h 59470"/>
                    <a:gd name="connsiteX40" fmla="*/ 24964 w 41231"/>
                    <a:gd name="connsiteY40" fmla="*/ 31543 h 59470"/>
                    <a:gd name="connsiteX41" fmla="*/ 24692 w 41231"/>
                    <a:gd name="connsiteY41" fmla="*/ 30136 h 59470"/>
                    <a:gd name="connsiteX42" fmla="*/ 24727 w 41231"/>
                    <a:gd name="connsiteY42" fmla="*/ 26839 h 59470"/>
                    <a:gd name="connsiteX43" fmla="*/ 24257 w 41231"/>
                    <a:gd name="connsiteY43" fmla="*/ 20347 h 59470"/>
                    <a:gd name="connsiteX44" fmla="*/ 25166 w 41231"/>
                    <a:gd name="connsiteY44" fmla="*/ 18908 h 59470"/>
                    <a:gd name="connsiteX45" fmla="*/ 26853 w 41231"/>
                    <a:gd name="connsiteY45" fmla="*/ 19132 h 59470"/>
                    <a:gd name="connsiteX46" fmla="*/ 35898 w 41231"/>
                    <a:gd name="connsiteY46" fmla="*/ 23669 h 59470"/>
                    <a:gd name="connsiteX47" fmla="*/ 38033 w 41231"/>
                    <a:gd name="connsiteY47" fmla="*/ 22249 h 59470"/>
                    <a:gd name="connsiteX48" fmla="*/ 38033 w 41231"/>
                    <a:gd name="connsiteY48" fmla="*/ 22249 h 59470"/>
                    <a:gd name="connsiteX49" fmla="*/ 37772 w 41231"/>
                    <a:gd name="connsiteY49" fmla="*/ 20890 h 59470"/>
                    <a:gd name="connsiteX50" fmla="*/ 36626 w 41231"/>
                    <a:gd name="connsiteY50" fmla="*/ 20117 h 59470"/>
                    <a:gd name="connsiteX51" fmla="*/ 25431 w 41231"/>
                    <a:gd name="connsiteY51" fmla="*/ 11643 h 59470"/>
                    <a:gd name="connsiteX52" fmla="*/ 25380 w 41231"/>
                    <a:gd name="connsiteY52" fmla="*/ 10353 h 59470"/>
                    <a:gd name="connsiteX53" fmla="*/ 25393 w 41231"/>
                    <a:gd name="connsiteY53" fmla="*/ 10353 h 59470"/>
                    <a:gd name="connsiteX54" fmla="*/ 25450 w 41231"/>
                    <a:gd name="connsiteY54" fmla="*/ 10154 h 59470"/>
                    <a:gd name="connsiteX55" fmla="*/ 22368 w 41231"/>
                    <a:gd name="connsiteY55" fmla="*/ 3486 h 59470"/>
                    <a:gd name="connsiteX56" fmla="*/ 17563 w 41231"/>
                    <a:gd name="connsiteY56" fmla="*/ 4091 h 59470"/>
                    <a:gd name="connsiteX57" fmla="*/ 17020 w 41231"/>
                    <a:gd name="connsiteY57" fmla="*/ 4334 h 59470"/>
                    <a:gd name="connsiteX58" fmla="*/ 3572 w 41231"/>
                    <a:gd name="connsiteY58" fmla="*/ 15968 h 59470"/>
                    <a:gd name="connsiteX59" fmla="*/ 6790 w 41231"/>
                    <a:gd name="connsiteY59" fmla="*/ 19189 h 59470"/>
                    <a:gd name="connsiteX60" fmla="*/ 11730 w 41231"/>
                    <a:gd name="connsiteY60" fmla="*/ 11318 h 59470"/>
                    <a:gd name="connsiteX61" fmla="*/ 13500 w 41231"/>
                    <a:gd name="connsiteY61" fmla="*/ 11164 h 59470"/>
                    <a:gd name="connsiteX62" fmla="*/ 14292 w 41231"/>
                    <a:gd name="connsiteY62" fmla="*/ 12751 h 59470"/>
                    <a:gd name="connsiteX63" fmla="*/ 14554 w 41231"/>
                    <a:gd name="connsiteY63" fmla="*/ 29417 h 59470"/>
                    <a:gd name="connsiteX64" fmla="*/ 16304 w 41231"/>
                    <a:gd name="connsiteY64" fmla="*/ 32593 h 59470"/>
                    <a:gd name="connsiteX65" fmla="*/ 16841 w 41231"/>
                    <a:gd name="connsiteY65" fmla="*/ 34007 h 59470"/>
                    <a:gd name="connsiteX66" fmla="*/ 6913 w 41231"/>
                    <a:gd name="connsiteY66" fmla="*/ 52029 h 59470"/>
                    <a:gd name="connsiteX67" fmla="*/ 6405 w 41231"/>
                    <a:gd name="connsiteY67" fmla="*/ 54540 h 59470"/>
                    <a:gd name="connsiteX68" fmla="*/ 7560 w 41231"/>
                    <a:gd name="connsiteY68" fmla="*/ 55313 h 59470"/>
                    <a:gd name="connsiteX69" fmla="*/ 8916 w 41231"/>
                    <a:gd name="connsiteY69" fmla="*/ 55045 h 59470"/>
                    <a:gd name="connsiteX70" fmla="*/ 20260 w 41231"/>
                    <a:gd name="connsiteY70" fmla="*/ 35745 h 59470"/>
                    <a:gd name="connsiteX71" fmla="*/ 21494 w 41231"/>
                    <a:gd name="connsiteY71" fmla="*/ 34464 h 59470"/>
                    <a:gd name="connsiteX72" fmla="*/ 21815 w 41231"/>
                    <a:gd name="connsiteY72" fmla="*/ 34429 h 59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</a:cxnLst>
                  <a:rect l="l" t="t" r="r" b="b"/>
                  <a:pathLst>
                    <a:path w="41231" h="59470">
                      <a:moveTo>
                        <a:pt x="31595" y="59471"/>
                      </a:moveTo>
                      <a:cubicBezTo>
                        <a:pt x="29017" y="59471"/>
                        <a:pt x="26932" y="57707"/>
                        <a:pt x="26592" y="55187"/>
                      </a:cubicBezTo>
                      <a:cubicBezTo>
                        <a:pt x="26150" y="52026"/>
                        <a:pt x="24790" y="45682"/>
                        <a:pt x="22443" y="40480"/>
                      </a:cubicBezTo>
                      <a:cubicBezTo>
                        <a:pt x="20803" y="46407"/>
                        <a:pt x="17453" y="53155"/>
                        <a:pt x="10670" y="57669"/>
                      </a:cubicBezTo>
                      <a:cubicBezTo>
                        <a:pt x="9569" y="58404"/>
                        <a:pt x="8247" y="58666"/>
                        <a:pt x="6945" y="58408"/>
                      </a:cubicBezTo>
                      <a:cubicBezTo>
                        <a:pt x="5639" y="58146"/>
                        <a:pt x="4512" y="57392"/>
                        <a:pt x="3777" y="56281"/>
                      </a:cubicBezTo>
                      <a:cubicBezTo>
                        <a:pt x="2266" y="53991"/>
                        <a:pt x="2891" y="50906"/>
                        <a:pt x="5169" y="49401"/>
                      </a:cubicBezTo>
                      <a:cubicBezTo>
                        <a:pt x="10654" y="45735"/>
                        <a:pt x="12790" y="39350"/>
                        <a:pt x="13601" y="34357"/>
                      </a:cubicBezTo>
                      <a:cubicBezTo>
                        <a:pt x="12446" y="33126"/>
                        <a:pt x="11689" y="31562"/>
                        <a:pt x="11437" y="29871"/>
                      </a:cubicBezTo>
                      <a:cubicBezTo>
                        <a:pt x="10822" y="25599"/>
                        <a:pt x="10582" y="21495"/>
                        <a:pt x="10724" y="17615"/>
                      </a:cubicBezTo>
                      <a:cubicBezTo>
                        <a:pt x="9945" y="19230"/>
                        <a:pt x="9465" y="21117"/>
                        <a:pt x="9285" y="23262"/>
                      </a:cubicBezTo>
                      <a:cubicBezTo>
                        <a:pt x="9156" y="24763"/>
                        <a:pt x="8367" y="26098"/>
                        <a:pt x="7058" y="27025"/>
                      </a:cubicBezTo>
                      <a:cubicBezTo>
                        <a:pt x="6926" y="27117"/>
                        <a:pt x="6784" y="27189"/>
                        <a:pt x="6629" y="27240"/>
                      </a:cubicBezTo>
                      <a:lnTo>
                        <a:pt x="4500" y="27924"/>
                      </a:lnTo>
                      <a:cubicBezTo>
                        <a:pt x="3913" y="28104"/>
                        <a:pt x="3367" y="28025"/>
                        <a:pt x="2613" y="27786"/>
                      </a:cubicBezTo>
                      <a:cubicBezTo>
                        <a:pt x="2004" y="27590"/>
                        <a:pt x="1575" y="27044"/>
                        <a:pt x="1525" y="26407"/>
                      </a:cubicBezTo>
                      <a:cubicBezTo>
                        <a:pt x="1474" y="25770"/>
                        <a:pt x="1815" y="25167"/>
                        <a:pt x="2386" y="24877"/>
                      </a:cubicBezTo>
                      <a:cubicBezTo>
                        <a:pt x="3945" y="24088"/>
                        <a:pt x="4336" y="22590"/>
                        <a:pt x="4184" y="21454"/>
                      </a:cubicBezTo>
                      <a:cubicBezTo>
                        <a:pt x="4030" y="20300"/>
                        <a:pt x="3260" y="18940"/>
                        <a:pt x="1553" y="18587"/>
                      </a:cubicBezTo>
                      <a:lnTo>
                        <a:pt x="1553" y="18580"/>
                      </a:lnTo>
                      <a:cubicBezTo>
                        <a:pt x="1433" y="18558"/>
                        <a:pt x="1310" y="18530"/>
                        <a:pt x="1244" y="18514"/>
                      </a:cubicBezTo>
                      <a:cubicBezTo>
                        <a:pt x="834" y="18401"/>
                        <a:pt x="437" y="18113"/>
                        <a:pt x="232" y="17738"/>
                      </a:cubicBezTo>
                      <a:cubicBezTo>
                        <a:pt x="26" y="17363"/>
                        <a:pt x="-68" y="16908"/>
                        <a:pt x="55" y="16501"/>
                      </a:cubicBezTo>
                      <a:cubicBezTo>
                        <a:pt x="3446" y="5438"/>
                        <a:pt x="12784" y="2148"/>
                        <a:pt x="16014" y="1331"/>
                      </a:cubicBezTo>
                      <a:cubicBezTo>
                        <a:pt x="18219" y="-95"/>
                        <a:pt x="20986" y="-395"/>
                        <a:pt x="23469" y="526"/>
                      </a:cubicBezTo>
                      <a:cubicBezTo>
                        <a:pt x="27588" y="2053"/>
                        <a:pt x="29806" y="6599"/>
                        <a:pt x="28560" y="10798"/>
                      </a:cubicBezTo>
                      <a:cubicBezTo>
                        <a:pt x="31393" y="15776"/>
                        <a:pt x="37197" y="17006"/>
                        <a:pt x="37257" y="17019"/>
                      </a:cubicBezTo>
                      <a:cubicBezTo>
                        <a:pt x="39942" y="17565"/>
                        <a:pt x="41677" y="20189"/>
                        <a:pt x="41131" y="22871"/>
                      </a:cubicBezTo>
                      <a:cubicBezTo>
                        <a:pt x="40592" y="25552"/>
                        <a:pt x="37977" y="27297"/>
                        <a:pt x="35286" y="26757"/>
                      </a:cubicBezTo>
                      <a:cubicBezTo>
                        <a:pt x="32753" y="26252"/>
                        <a:pt x="30011" y="25098"/>
                        <a:pt x="27541" y="23530"/>
                      </a:cubicBezTo>
                      <a:cubicBezTo>
                        <a:pt x="27633" y="24741"/>
                        <a:pt x="27756" y="25659"/>
                        <a:pt x="27857" y="26413"/>
                      </a:cubicBezTo>
                      <a:cubicBezTo>
                        <a:pt x="28046" y="27795"/>
                        <a:pt x="28188" y="28855"/>
                        <a:pt x="27920" y="30218"/>
                      </a:cubicBezTo>
                      <a:cubicBezTo>
                        <a:pt x="34254" y="38868"/>
                        <a:pt x="36219" y="52310"/>
                        <a:pt x="36428" y="53846"/>
                      </a:cubicBezTo>
                      <a:cubicBezTo>
                        <a:pt x="36790" y="56568"/>
                        <a:pt x="34879" y="59079"/>
                        <a:pt x="32166" y="59439"/>
                      </a:cubicBezTo>
                      <a:cubicBezTo>
                        <a:pt x="31970" y="59458"/>
                        <a:pt x="31781" y="59467"/>
                        <a:pt x="31592" y="59467"/>
                      </a:cubicBezTo>
                      <a:close/>
                      <a:moveTo>
                        <a:pt x="21815" y="34429"/>
                      </a:moveTo>
                      <a:cubicBezTo>
                        <a:pt x="22342" y="34429"/>
                        <a:pt x="22841" y="34691"/>
                        <a:pt x="23134" y="35145"/>
                      </a:cubicBezTo>
                      <a:cubicBezTo>
                        <a:pt x="26989" y="41048"/>
                        <a:pt x="29084" y="50250"/>
                        <a:pt x="29712" y="54754"/>
                      </a:cubicBezTo>
                      <a:cubicBezTo>
                        <a:pt x="29825" y="55597"/>
                        <a:pt x="30519" y="56445"/>
                        <a:pt x="31800" y="56310"/>
                      </a:cubicBezTo>
                      <a:cubicBezTo>
                        <a:pt x="32753" y="56180"/>
                        <a:pt x="33434" y="55281"/>
                        <a:pt x="33298" y="54269"/>
                      </a:cubicBezTo>
                      <a:cubicBezTo>
                        <a:pt x="33100" y="52783"/>
                        <a:pt x="31156" y="39502"/>
                        <a:pt x="24964" y="31543"/>
                      </a:cubicBezTo>
                      <a:cubicBezTo>
                        <a:pt x="24655" y="31145"/>
                        <a:pt x="24554" y="30622"/>
                        <a:pt x="24692" y="30136"/>
                      </a:cubicBezTo>
                      <a:cubicBezTo>
                        <a:pt x="25021" y="29000"/>
                        <a:pt x="24929" y="28322"/>
                        <a:pt x="24727" y="26839"/>
                      </a:cubicBezTo>
                      <a:cubicBezTo>
                        <a:pt x="24538" y="25448"/>
                        <a:pt x="24279" y="23539"/>
                        <a:pt x="24257" y="20347"/>
                      </a:cubicBezTo>
                      <a:cubicBezTo>
                        <a:pt x="24254" y="19732"/>
                        <a:pt x="24607" y="19167"/>
                        <a:pt x="25166" y="18908"/>
                      </a:cubicBezTo>
                      <a:cubicBezTo>
                        <a:pt x="25718" y="18647"/>
                        <a:pt x="26383" y="18735"/>
                        <a:pt x="26853" y="19132"/>
                      </a:cubicBezTo>
                      <a:cubicBezTo>
                        <a:pt x="30778" y="22448"/>
                        <a:pt x="34768" y="23442"/>
                        <a:pt x="35898" y="23669"/>
                      </a:cubicBezTo>
                      <a:cubicBezTo>
                        <a:pt x="36882" y="23852"/>
                        <a:pt x="37835" y="23224"/>
                        <a:pt x="38033" y="22249"/>
                      </a:cubicBezTo>
                      <a:cubicBezTo>
                        <a:pt x="38033" y="22249"/>
                        <a:pt x="38033" y="22249"/>
                        <a:pt x="38033" y="22249"/>
                      </a:cubicBezTo>
                      <a:cubicBezTo>
                        <a:pt x="38128" y="21776"/>
                        <a:pt x="38033" y="21293"/>
                        <a:pt x="37772" y="20890"/>
                      </a:cubicBezTo>
                      <a:cubicBezTo>
                        <a:pt x="37510" y="20486"/>
                        <a:pt x="37100" y="20214"/>
                        <a:pt x="36626" y="20117"/>
                      </a:cubicBezTo>
                      <a:cubicBezTo>
                        <a:pt x="36311" y="20054"/>
                        <a:pt x="28819" y="18479"/>
                        <a:pt x="25431" y="11643"/>
                      </a:cubicBezTo>
                      <a:cubicBezTo>
                        <a:pt x="25232" y="11240"/>
                        <a:pt x="25213" y="10773"/>
                        <a:pt x="25380" y="10353"/>
                      </a:cubicBezTo>
                      <a:lnTo>
                        <a:pt x="25393" y="10353"/>
                      </a:lnTo>
                      <a:cubicBezTo>
                        <a:pt x="25409" y="10287"/>
                        <a:pt x="25428" y="10221"/>
                        <a:pt x="25450" y="10154"/>
                      </a:cubicBezTo>
                      <a:cubicBezTo>
                        <a:pt x="26396" y="7460"/>
                        <a:pt x="25014" y="4467"/>
                        <a:pt x="22368" y="3486"/>
                      </a:cubicBezTo>
                      <a:cubicBezTo>
                        <a:pt x="20752" y="2892"/>
                        <a:pt x="18957" y="3110"/>
                        <a:pt x="17563" y="4091"/>
                      </a:cubicBezTo>
                      <a:cubicBezTo>
                        <a:pt x="17399" y="4205"/>
                        <a:pt x="17216" y="4287"/>
                        <a:pt x="17020" y="4334"/>
                      </a:cubicBezTo>
                      <a:cubicBezTo>
                        <a:pt x="13970" y="5053"/>
                        <a:pt x="6803" y="7602"/>
                        <a:pt x="3572" y="15968"/>
                      </a:cubicBezTo>
                      <a:cubicBezTo>
                        <a:pt x="5042" y="16647"/>
                        <a:pt x="6156" y="17779"/>
                        <a:pt x="6790" y="19189"/>
                      </a:cubicBezTo>
                      <a:cubicBezTo>
                        <a:pt x="7667" y="15927"/>
                        <a:pt x="9320" y="13290"/>
                        <a:pt x="11730" y="11318"/>
                      </a:cubicBezTo>
                      <a:cubicBezTo>
                        <a:pt x="12232" y="10908"/>
                        <a:pt x="12932" y="10848"/>
                        <a:pt x="13500" y="11164"/>
                      </a:cubicBezTo>
                      <a:cubicBezTo>
                        <a:pt x="14065" y="11479"/>
                        <a:pt x="14380" y="12110"/>
                        <a:pt x="14292" y="12751"/>
                      </a:cubicBezTo>
                      <a:cubicBezTo>
                        <a:pt x="13604" y="17839"/>
                        <a:pt x="13692" y="23448"/>
                        <a:pt x="14554" y="29417"/>
                      </a:cubicBezTo>
                      <a:cubicBezTo>
                        <a:pt x="14740" y="30653"/>
                        <a:pt x="15361" y="31782"/>
                        <a:pt x="16304" y="32593"/>
                      </a:cubicBezTo>
                      <a:cubicBezTo>
                        <a:pt x="16711" y="32943"/>
                        <a:pt x="16913" y="33477"/>
                        <a:pt x="16841" y="34007"/>
                      </a:cubicBezTo>
                      <a:cubicBezTo>
                        <a:pt x="16043" y="39735"/>
                        <a:pt x="13673" y="47515"/>
                        <a:pt x="6913" y="52029"/>
                      </a:cubicBezTo>
                      <a:cubicBezTo>
                        <a:pt x="6077" y="52581"/>
                        <a:pt x="5856" y="53704"/>
                        <a:pt x="6405" y="54540"/>
                      </a:cubicBezTo>
                      <a:cubicBezTo>
                        <a:pt x="6670" y="54941"/>
                        <a:pt x="7083" y="55218"/>
                        <a:pt x="7560" y="55313"/>
                      </a:cubicBezTo>
                      <a:cubicBezTo>
                        <a:pt x="8036" y="55414"/>
                        <a:pt x="8516" y="55313"/>
                        <a:pt x="8916" y="55045"/>
                      </a:cubicBezTo>
                      <a:cubicBezTo>
                        <a:pt x="16446" y="50035"/>
                        <a:pt x="19241" y="41783"/>
                        <a:pt x="20260" y="35745"/>
                      </a:cubicBezTo>
                      <a:cubicBezTo>
                        <a:pt x="20368" y="35104"/>
                        <a:pt x="20856" y="34596"/>
                        <a:pt x="21494" y="34464"/>
                      </a:cubicBezTo>
                      <a:cubicBezTo>
                        <a:pt x="21601" y="34442"/>
                        <a:pt x="21708" y="34429"/>
                        <a:pt x="21815" y="3442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" name="Freihandform: Form 37">
                  <a:extLst>
                    <a:ext uri="{FF2B5EF4-FFF2-40B4-BE49-F238E27FC236}">
                      <a16:creationId xmlns:a16="http://schemas.microsoft.com/office/drawing/2014/main" id="{4CE82CFD-49B5-84E6-DC08-A1EC717330D6}"/>
                    </a:ext>
                  </a:extLst>
                </p:cNvPr>
                <p:cNvSpPr/>
                <p:nvPr/>
              </p:nvSpPr>
              <p:spPr>
                <a:xfrm>
                  <a:off x="895102" y="5168101"/>
                  <a:ext cx="16719" cy="16719"/>
                </a:xfrm>
                <a:custGeom>
                  <a:avLst/>
                  <a:gdLst>
                    <a:gd name="connsiteX0" fmla="*/ 8360 w 16719"/>
                    <a:gd name="connsiteY0" fmla="*/ 16720 h 16719"/>
                    <a:gd name="connsiteX1" fmla="*/ 0 w 16719"/>
                    <a:gd name="connsiteY1" fmla="*/ 8360 h 16719"/>
                    <a:gd name="connsiteX2" fmla="*/ 8360 w 16719"/>
                    <a:gd name="connsiteY2" fmla="*/ 0 h 16719"/>
                    <a:gd name="connsiteX3" fmla="*/ 16720 w 16719"/>
                    <a:gd name="connsiteY3" fmla="*/ 8360 h 16719"/>
                    <a:gd name="connsiteX4" fmla="*/ 8360 w 16719"/>
                    <a:gd name="connsiteY4" fmla="*/ 16720 h 16719"/>
                    <a:gd name="connsiteX5" fmla="*/ 8360 w 16719"/>
                    <a:gd name="connsiteY5" fmla="*/ 3155 h 16719"/>
                    <a:gd name="connsiteX6" fmla="*/ 3155 w 16719"/>
                    <a:gd name="connsiteY6" fmla="*/ 8360 h 16719"/>
                    <a:gd name="connsiteX7" fmla="*/ 8360 w 16719"/>
                    <a:gd name="connsiteY7" fmla="*/ 13565 h 16719"/>
                    <a:gd name="connsiteX8" fmla="*/ 13565 w 16719"/>
                    <a:gd name="connsiteY8" fmla="*/ 8360 h 16719"/>
                    <a:gd name="connsiteX9" fmla="*/ 8360 w 16719"/>
                    <a:gd name="connsiteY9" fmla="*/ 3155 h 16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6719" h="16719">
                      <a:moveTo>
                        <a:pt x="8360" y="16720"/>
                      </a:moveTo>
                      <a:cubicBezTo>
                        <a:pt x="3751" y="16720"/>
                        <a:pt x="0" y="12969"/>
                        <a:pt x="0" y="8360"/>
                      </a:cubicBezTo>
                      <a:cubicBezTo>
                        <a:pt x="0" y="3751"/>
                        <a:pt x="3751" y="0"/>
                        <a:pt x="8360" y="0"/>
                      </a:cubicBezTo>
                      <a:cubicBezTo>
                        <a:pt x="12969" y="0"/>
                        <a:pt x="16720" y="3751"/>
                        <a:pt x="16720" y="8360"/>
                      </a:cubicBezTo>
                      <a:cubicBezTo>
                        <a:pt x="16720" y="12969"/>
                        <a:pt x="12969" y="16720"/>
                        <a:pt x="8360" y="16720"/>
                      </a:cubicBezTo>
                      <a:close/>
                      <a:moveTo>
                        <a:pt x="8360" y="3155"/>
                      </a:moveTo>
                      <a:cubicBezTo>
                        <a:pt x="5489" y="3155"/>
                        <a:pt x="3155" y="5489"/>
                        <a:pt x="3155" y="8360"/>
                      </a:cubicBezTo>
                      <a:cubicBezTo>
                        <a:pt x="3155" y="11230"/>
                        <a:pt x="5489" y="13565"/>
                        <a:pt x="8360" y="13565"/>
                      </a:cubicBezTo>
                      <a:cubicBezTo>
                        <a:pt x="11230" y="13565"/>
                        <a:pt x="13565" y="11230"/>
                        <a:pt x="13565" y="8360"/>
                      </a:cubicBezTo>
                      <a:cubicBezTo>
                        <a:pt x="13565" y="5489"/>
                        <a:pt x="11230" y="3155"/>
                        <a:pt x="8360" y="315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Freihandform: Form 38">
                  <a:extLst>
                    <a:ext uri="{FF2B5EF4-FFF2-40B4-BE49-F238E27FC236}">
                      <a16:creationId xmlns:a16="http://schemas.microsoft.com/office/drawing/2014/main" id="{0C269CB2-704A-8D20-119B-C38EC40F3B65}"/>
                    </a:ext>
                  </a:extLst>
                </p:cNvPr>
                <p:cNvSpPr/>
                <p:nvPr/>
              </p:nvSpPr>
              <p:spPr>
                <a:xfrm>
                  <a:off x="843417" y="5185598"/>
                  <a:ext cx="42315" cy="59475"/>
                </a:xfrm>
                <a:custGeom>
                  <a:avLst/>
                  <a:gdLst>
                    <a:gd name="connsiteX0" fmla="*/ 32575 w 42315"/>
                    <a:gd name="connsiteY0" fmla="*/ 59475 h 59475"/>
                    <a:gd name="connsiteX1" fmla="*/ 29578 w 42315"/>
                    <a:gd name="connsiteY1" fmla="*/ 58460 h 59475"/>
                    <a:gd name="connsiteX2" fmla="*/ 27663 w 42315"/>
                    <a:gd name="connsiteY2" fmla="*/ 55179 h 59475"/>
                    <a:gd name="connsiteX3" fmla="*/ 24104 w 42315"/>
                    <a:gd name="connsiteY3" fmla="*/ 41882 h 59475"/>
                    <a:gd name="connsiteX4" fmla="*/ 23073 w 42315"/>
                    <a:gd name="connsiteY4" fmla="*/ 41882 h 59475"/>
                    <a:gd name="connsiteX5" fmla="*/ 11748 w 42315"/>
                    <a:gd name="connsiteY5" fmla="*/ 57655 h 59475"/>
                    <a:gd name="connsiteX6" fmla="*/ 4861 w 42315"/>
                    <a:gd name="connsiteY6" fmla="*/ 56280 h 59475"/>
                    <a:gd name="connsiteX7" fmla="*/ 4120 w 42315"/>
                    <a:gd name="connsiteY7" fmla="*/ 52548 h 59475"/>
                    <a:gd name="connsiteX8" fmla="*/ 6237 w 42315"/>
                    <a:gd name="connsiteY8" fmla="*/ 49390 h 59475"/>
                    <a:gd name="connsiteX9" fmla="*/ 12429 w 42315"/>
                    <a:gd name="connsiteY9" fmla="*/ 41885 h 59475"/>
                    <a:gd name="connsiteX10" fmla="*/ 9006 w 42315"/>
                    <a:gd name="connsiteY10" fmla="*/ 41885 h 59475"/>
                    <a:gd name="connsiteX11" fmla="*/ 7735 w 42315"/>
                    <a:gd name="connsiteY11" fmla="*/ 41242 h 59475"/>
                    <a:gd name="connsiteX12" fmla="*/ 7499 w 42315"/>
                    <a:gd name="connsiteY12" fmla="*/ 39838 h 59475"/>
                    <a:gd name="connsiteX13" fmla="*/ 12025 w 42315"/>
                    <a:gd name="connsiteY13" fmla="*/ 25305 h 59475"/>
                    <a:gd name="connsiteX14" fmla="*/ 11814 w 42315"/>
                    <a:gd name="connsiteY14" fmla="*/ 17576 h 59475"/>
                    <a:gd name="connsiteX15" fmla="*/ 10357 w 42315"/>
                    <a:gd name="connsiteY15" fmla="*/ 23248 h 59475"/>
                    <a:gd name="connsiteX16" fmla="*/ 8126 w 42315"/>
                    <a:gd name="connsiteY16" fmla="*/ 27014 h 59475"/>
                    <a:gd name="connsiteX17" fmla="*/ 7710 w 42315"/>
                    <a:gd name="connsiteY17" fmla="*/ 27223 h 59475"/>
                    <a:gd name="connsiteX18" fmla="*/ 5577 w 42315"/>
                    <a:gd name="connsiteY18" fmla="*/ 27913 h 59475"/>
                    <a:gd name="connsiteX19" fmla="*/ 5022 w 42315"/>
                    <a:gd name="connsiteY19" fmla="*/ 27989 h 59475"/>
                    <a:gd name="connsiteX20" fmla="*/ 19 w 42315"/>
                    <a:gd name="connsiteY20" fmla="*/ 22368 h 59475"/>
                    <a:gd name="connsiteX21" fmla="*/ 17089 w 42315"/>
                    <a:gd name="connsiteY21" fmla="*/ 1329 h 59475"/>
                    <a:gd name="connsiteX22" fmla="*/ 24540 w 42315"/>
                    <a:gd name="connsiteY22" fmla="*/ 522 h 59475"/>
                    <a:gd name="connsiteX23" fmla="*/ 29641 w 42315"/>
                    <a:gd name="connsiteY23" fmla="*/ 10781 h 59475"/>
                    <a:gd name="connsiteX24" fmla="*/ 38266 w 42315"/>
                    <a:gd name="connsiteY24" fmla="*/ 16995 h 59475"/>
                    <a:gd name="connsiteX25" fmla="*/ 38348 w 42315"/>
                    <a:gd name="connsiteY25" fmla="*/ 17011 h 59475"/>
                    <a:gd name="connsiteX26" fmla="*/ 42218 w 42315"/>
                    <a:gd name="connsiteY26" fmla="*/ 22857 h 59475"/>
                    <a:gd name="connsiteX27" fmla="*/ 36370 w 42315"/>
                    <a:gd name="connsiteY27" fmla="*/ 26746 h 59475"/>
                    <a:gd name="connsiteX28" fmla="*/ 28657 w 42315"/>
                    <a:gd name="connsiteY28" fmla="*/ 23544 h 59475"/>
                    <a:gd name="connsiteX29" fmla="*/ 28811 w 42315"/>
                    <a:gd name="connsiteY29" fmla="*/ 25159 h 59475"/>
                    <a:gd name="connsiteX30" fmla="*/ 36937 w 42315"/>
                    <a:gd name="connsiteY30" fmla="*/ 39526 h 59475"/>
                    <a:gd name="connsiteX31" fmla="*/ 36928 w 42315"/>
                    <a:gd name="connsiteY31" fmla="*/ 41097 h 59475"/>
                    <a:gd name="connsiteX32" fmla="*/ 35565 w 42315"/>
                    <a:gd name="connsiteY32" fmla="*/ 41879 h 59475"/>
                    <a:gd name="connsiteX33" fmla="*/ 34691 w 42315"/>
                    <a:gd name="connsiteY33" fmla="*/ 41879 h 59475"/>
                    <a:gd name="connsiteX34" fmla="*/ 37512 w 42315"/>
                    <a:gd name="connsiteY34" fmla="*/ 53838 h 59475"/>
                    <a:gd name="connsiteX35" fmla="*/ 36543 w 42315"/>
                    <a:gd name="connsiteY35" fmla="*/ 57513 h 59475"/>
                    <a:gd name="connsiteX36" fmla="*/ 33259 w 42315"/>
                    <a:gd name="connsiteY36" fmla="*/ 59428 h 59475"/>
                    <a:gd name="connsiteX37" fmla="*/ 32578 w 42315"/>
                    <a:gd name="connsiteY37" fmla="*/ 59475 h 59475"/>
                    <a:gd name="connsiteX38" fmla="*/ 21899 w 42315"/>
                    <a:gd name="connsiteY38" fmla="*/ 38727 h 59475"/>
                    <a:gd name="connsiteX39" fmla="*/ 25149 w 42315"/>
                    <a:gd name="connsiteY39" fmla="*/ 38727 h 59475"/>
                    <a:gd name="connsiteX40" fmla="*/ 26593 w 42315"/>
                    <a:gd name="connsiteY40" fmla="*/ 39674 h 59475"/>
                    <a:gd name="connsiteX41" fmla="*/ 30786 w 42315"/>
                    <a:gd name="connsiteY41" fmla="*/ 54753 h 59475"/>
                    <a:gd name="connsiteX42" fmla="*/ 31483 w 42315"/>
                    <a:gd name="connsiteY42" fmla="*/ 55949 h 59475"/>
                    <a:gd name="connsiteX43" fmla="*/ 32827 w 42315"/>
                    <a:gd name="connsiteY43" fmla="*/ 56302 h 59475"/>
                    <a:gd name="connsiteX44" fmla="*/ 34026 w 42315"/>
                    <a:gd name="connsiteY44" fmla="*/ 55605 h 59475"/>
                    <a:gd name="connsiteX45" fmla="*/ 34379 w 42315"/>
                    <a:gd name="connsiteY45" fmla="*/ 54264 h 59475"/>
                    <a:gd name="connsiteX46" fmla="*/ 30982 w 42315"/>
                    <a:gd name="connsiteY46" fmla="*/ 40857 h 59475"/>
                    <a:gd name="connsiteX47" fmla="*/ 31165 w 42315"/>
                    <a:gd name="connsiteY47" fmla="*/ 39406 h 59475"/>
                    <a:gd name="connsiteX48" fmla="*/ 32461 w 42315"/>
                    <a:gd name="connsiteY48" fmla="*/ 38727 h 59475"/>
                    <a:gd name="connsiteX49" fmla="*/ 32855 w 42315"/>
                    <a:gd name="connsiteY49" fmla="*/ 38727 h 59475"/>
                    <a:gd name="connsiteX50" fmla="*/ 25899 w 42315"/>
                    <a:gd name="connsiteY50" fmla="*/ 26431 h 59475"/>
                    <a:gd name="connsiteX51" fmla="*/ 25704 w 42315"/>
                    <a:gd name="connsiteY51" fmla="*/ 25825 h 59475"/>
                    <a:gd name="connsiteX52" fmla="*/ 25332 w 42315"/>
                    <a:gd name="connsiteY52" fmla="*/ 20339 h 59475"/>
                    <a:gd name="connsiteX53" fmla="*/ 26237 w 42315"/>
                    <a:gd name="connsiteY53" fmla="*/ 18894 h 59475"/>
                    <a:gd name="connsiteX54" fmla="*/ 27928 w 42315"/>
                    <a:gd name="connsiteY54" fmla="*/ 19118 h 59475"/>
                    <a:gd name="connsiteX55" fmla="*/ 36988 w 42315"/>
                    <a:gd name="connsiteY55" fmla="*/ 23655 h 59475"/>
                    <a:gd name="connsiteX56" fmla="*/ 39124 w 42315"/>
                    <a:gd name="connsiteY56" fmla="*/ 22232 h 59475"/>
                    <a:gd name="connsiteX57" fmla="*/ 37796 w 42315"/>
                    <a:gd name="connsiteY57" fmla="*/ 20122 h 59475"/>
                    <a:gd name="connsiteX58" fmla="*/ 37698 w 42315"/>
                    <a:gd name="connsiteY58" fmla="*/ 20106 h 59475"/>
                    <a:gd name="connsiteX59" fmla="*/ 26524 w 42315"/>
                    <a:gd name="connsiteY59" fmla="*/ 11636 h 59475"/>
                    <a:gd name="connsiteX60" fmla="*/ 26426 w 42315"/>
                    <a:gd name="connsiteY60" fmla="*/ 10484 h 59475"/>
                    <a:gd name="connsiteX61" fmla="*/ 26609 w 42315"/>
                    <a:gd name="connsiteY61" fmla="*/ 9967 h 59475"/>
                    <a:gd name="connsiteX62" fmla="*/ 23448 w 42315"/>
                    <a:gd name="connsiteY62" fmla="*/ 3481 h 59475"/>
                    <a:gd name="connsiteX63" fmla="*/ 18641 w 42315"/>
                    <a:gd name="connsiteY63" fmla="*/ 4090 h 59475"/>
                    <a:gd name="connsiteX64" fmla="*/ 18098 w 42315"/>
                    <a:gd name="connsiteY64" fmla="*/ 4333 h 59475"/>
                    <a:gd name="connsiteX65" fmla="*/ 3167 w 42315"/>
                    <a:gd name="connsiteY65" fmla="*/ 22639 h 59475"/>
                    <a:gd name="connsiteX66" fmla="*/ 4902 w 42315"/>
                    <a:gd name="connsiteY66" fmla="*/ 24822 h 59475"/>
                    <a:gd name="connsiteX67" fmla="*/ 6492 w 42315"/>
                    <a:gd name="connsiteY67" fmla="*/ 24305 h 59475"/>
                    <a:gd name="connsiteX68" fmla="*/ 7221 w 42315"/>
                    <a:gd name="connsiteY68" fmla="*/ 22980 h 59475"/>
                    <a:gd name="connsiteX69" fmla="*/ 12808 w 42315"/>
                    <a:gd name="connsiteY69" fmla="*/ 11314 h 59475"/>
                    <a:gd name="connsiteX70" fmla="*/ 14577 w 42315"/>
                    <a:gd name="connsiteY70" fmla="*/ 11156 h 59475"/>
                    <a:gd name="connsiteX71" fmla="*/ 15372 w 42315"/>
                    <a:gd name="connsiteY71" fmla="*/ 12746 h 59475"/>
                    <a:gd name="connsiteX72" fmla="*/ 15208 w 42315"/>
                    <a:gd name="connsiteY72" fmla="*/ 25418 h 59475"/>
                    <a:gd name="connsiteX73" fmla="*/ 15025 w 42315"/>
                    <a:gd name="connsiteY73" fmla="*/ 26308 h 59475"/>
                    <a:gd name="connsiteX74" fmla="*/ 11155 w 42315"/>
                    <a:gd name="connsiteY74" fmla="*/ 38731 h 59475"/>
                    <a:gd name="connsiteX75" fmla="*/ 14783 w 42315"/>
                    <a:gd name="connsiteY75" fmla="*/ 38731 h 59475"/>
                    <a:gd name="connsiteX76" fmla="*/ 16073 w 42315"/>
                    <a:gd name="connsiteY76" fmla="*/ 39399 h 59475"/>
                    <a:gd name="connsiteX77" fmla="*/ 16268 w 42315"/>
                    <a:gd name="connsiteY77" fmla="*/ 40841 h 59475"/>
                    <a:gd name="connsiteX78" fmla="*/ 7991 w 42315"/>
                    <a:gd name="connsiteY78" fmla="*/ 52015 h 59475"/>
                    <a:gd name="connsiteX79" fmla="*/ 7218 w 42315"/>
                    <a:gd name="connsiteY79" fmla="*/ 53169 h 59475"/>
                    <a:gd name="connsiteX80" fmla="*/ 7486 w 42315"/>
                    <a:gd name="connsiteY80" fmla="*/ 54529 h 59475"/>
                    <a:gd name="connsiteX81" fmla="*/ 10000 w 42315"/>
                    <a:gd name="connsiteY81" fmla="*/ 55034 h 59475"/>
                    <a:gd name="connsiteX82" fmla="*/ 20385 w 42315"/>
                    <a:gd name="connsiteY82" fmla="*/ 39876 h 59475"/>
                    <a:gd name="connsiteX83" fmla="*/ 21903 w 42315"/>
                    <a:gd name="connsiteY83" fmla="*/ 38731 h 59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</a:cxnLst>
                  <a:rect l="l" t="t" r="r" b="b"/>
                  <a:pathLst>
                    <a:path w="42315" h="59475">
                      <a:moveTo>
                        <a:pt x="32575" y="59475"/>
                      </a:moveTo>
                      <a:cubicBezTo>
                        <a:pt x="31496" y="59475"/>
                        <a:pt x="30452" y="59125"/>
                        <a:pt x="29578" y="58460"/>
                      </a:cubicBezTo>
                      <a:cubicBezTo>
                        <a:pt x="28521" y="57658"/>
                        <a:pt x="27843" y="56491"/>
                        <a:pt x="27663" y="55179"/>
                      </a:cubicBezTo>
                      <a:cubicBezTo>
                        <a:pt x="27303" y="52548"/>
                        <a:pt x="26158" y="46948"/>
                        <a:pt x="24104" y="41882"/>
                      </a:cubicBezTo>
                      <a:lnTo>
                        <a:pt x="23073" y="41882"/>
                      </a:lnTo>
                      <a:cubicBezTo>
                        <a:pt x="20874" y="48803"/>
                        <a:pt x="17070" y="54106"/>
                        <a:pt x="11748" y="57655"/>
                      </a:cubicBezTo>
                      <a:cubicBezTo>
                        <a:pt x="9470" y="59169"/>
                        <a:pt x="6382" y="58557"/>
                        <a:pt x="4861" y="56280"/>
                      </a:cubicBezTo>
                      <a:cubicBezTo>
                        <a:pt x="4123" y="55176"/>
                        <a:pt x="3861" y="53851"/>
                        <a:pt x="4120" y="52548"/>
                      </a:cubicBezTo>
                      <a:cubicBezTo>
                        <a:pt x="4379" y="51245"/>
                        <a:pt x="5133" y="50125"/>
                        <a:pt x="6237" y="49390"/>
                      </a:cubicBezTo>
                      <a:cubicBezTo>
                        <a:pt x="8846" y="47652"/>
                        <a:pt x="10924" y="45131"/>
                        <a:pt x="12429" y="41885"/>
                      </a:cubicBezTo>
                      <a:lnTo>
                        <a:pt x="9006" y="41885"/>
                      </a:lnTo>
                      <a:cubicBezTo>
                        <a:pt x="8505" y="41885"/>
                        <a:pt x="8032" y="41646"/>
                        <a:pt x="7735" y="41242"/>
                      </a:cubicBezTo>
                      <a:cubicBezTo>
                        <a:pt x="7439" y="40838"/>
                        <a:pt x="7350" y="40317"/>
                        <a:pt x="7499" y="39838"/>
                      </a:cubicBezTo>
                      <a:lnTo>
                        <a:pt x="12025" y="25305"/>
                      </a:lnTo>
                      <a:cubicBezTo>
                        <a:pt x="11782" y="22352"/>
                        <a:pt x="11745" y="19765"/>
                        <a:pt x="11814" y="17576"/>
                      </a:cubicBezTo>
                      <a:cubicBezTo>
                        <a:pt x="11029" y="19197"/>
                        <a:pt x="10540" y="21093"/>
                        <a:pt x="10357" y="23248"/>
                      </a:cubicBezTo>
                      <a:cubicBezTo>
                        <a:pt x="10227" y="24765"/>
                        <a:pt x="9435" y="26103"/>
                        <a:pt x="8126" y="27014"/>
                      </a:cubicBezTo>
                      <a:cubicBezTo>
                        <a:pt x="7997" y="27103"/>
                        <a:pt x="7858" y="27175"/>
                        <a:pt x="7710" y="27223"/>
                      </a:cubicBezTo>
                      <a:lnTo>
                        <a:pt x="5577" y="27913"/>
                      </a:lnTo>
                      <a:cubicBezTo>
                        <a:pt x="5398" y="27970"/>
                        <a:pt x="5211" y="28002"/>
                        <a:pt x="5022" y="27989"/>
                      </a:cubicBezTo>
                      <a:cubicBezTo>
                        <a:pt x="1899" y="27730"/>
                        <a:pt x="-224" y="25216"/>
                        <a:pt x="19" y="22368"/>
                      </a:cubicBezTo>
                      <a:cubicBezTo>
                        <a:pt x="1356" y="6626"/>
                        <a:pt x="13060" y="2336"/>
                        <a:pt x="17089" y="1329"/>
                      </a:cubicBezTo>
                      <a:cubicBezTo>
                        <a:pt x="19294" y="-93"/>
                        <a:pt x="22057" y="-393"/>
                        <a:pt x="24540" y="522"/>
                      </a:cubicBezTo>
                      <a:cubicBezTo>
                        <a:pt x="28669" y="2049"/>
                        <a:pt x="30887" y="6585"/>
                        <a:pt x="29641" y="10781"/>
                      </a:cubicBezTo>
                      <a:cubicBezTo>
                        <a:pt x="32262" y="15393"/>
                        <a:pt x="37537" y="16819"/>
                        <a:pt x="38266" y="16995"/>
                      </a:cubicBezTo>
                      <a:cubicBezTo>
                        <a:pt x="38294" y="16998"/>
                        <a:pt x="38319" y="17005"/>
                        <a:pt x="38348" y="17011"/>
                      </a:cubicBezTo>
                      <a:cubicBezTo>
                        <a:pt x="41020" y="17557"/>
                        <a:pt x="42755" y="20178"/>
                        <a:pt x="42218" y="22857"/>
                      </a:cubicBezTo>
                      <a:cubicBezTo>
                        <a:pt x="41676" y="25538"/>
                        <a:pt x="39054" y="27292"/>
                        <a:pt x="36370" y="26746"/>
                      </a:cubicBezTo>
                      <a:cubicBezTo>
                        <a:pt x="33840" y="26241"/>
                        <a:pt x="31114" y="25096"/>
                        <a:pt x="28657" y="23544"/>
                      </a:cubicBezTo>
                      <a:cubicBezTo>
                        <a:pt x="28701" y="24062"/>
                        <a:pt x="28751" y="24598"/>
                        <a:pt x="28811" y="25159"/>
                      </a:cubicBezTo>
                      <a:lnTo>
                        <a:pt x="36937" y="39526"/>
                      </a:lnTo>
                      <a:cubicBezTo>
                        <a:pt x="37215" y="40015"/>
                        <a:pt x="37209" y="40611"/>
                        <a:pt x="36928" y="41097"/>
                      </a:cubicBezTo>
                      <a:cubicBezTo>
                        <a:pt x="36644" y="41582"/>
                        <a:pt x="36127" y="41879"/>
                        <a:pt x="35565" y="41879"/>
                      </a:cubicBezTo>
                      <a:lnTo>
                        <a:pt x="34691" y="41879"/>
                      </a:lnTo>
                      <a:cubicBezTo>
                        <a:pt x="36603" y="47661"/>
                        <a:pt x="37366" y="52772"/>
                        <a:pt x="37512" y="53838"/>
                      </a:cubicBezTo>
                      <a:cubicBezTo>
                        <a:pt x="37691" y="55154"/>
                        <a:pt x="37348" y="56460"/>
                        <a:pt x="36543" y="57513"/>
                      </a:cubicBezTo>
                      <a:cubicBezTo>
                        <a:pt x="35739" y="58567"/>
                        <a:pt x="34572" y="59248"/>
                        <a:pt x="33259" y="59428"/>
                      </a:cubicBezTo>
                      <a:cubicBezTo>
                        <a:pt x="33032" y="59460"/>
                        <a:pt x="32805" y="59475"/>
                        <a:pt x="32578" y="59475"/>
                      </a:cubicBezTo>
                      <a:close/>
                      <a:moveTo>
                        <a:pt x="21899" y="38727"/>
                      </a:moveTo>
                      <a:lnTo>
                        <a:pt x="25149" y="38727"/>
                      </a:lnTo>
                      <a:cubicBezTo>
                        <a:pt x="25776" y="38727"/>
                        <a:pt x="26344" y="39100"/>
                        <a:pt x="26593" y="39674"/>
                      </a:cubicBezTo>
                      <a:cubicBezTo>
                        <a:pt x="29038" y="45289"/>
                        <a:pt x="30379" y="51794"/>
                        <a:pt x="30786" y="54753"/>
                      </a:cubicBezTo>
                      <a:cubicBezTo>
                        <a:pt x="30852" y="55232"/>
                        <a:pt x="31098" y="55658"/>
                        <a:pt x="31483" y="55949"/>
                      </a:cubicBezTo>
                      <a:cubicBezTo>
                        <a:pt x="31871" y="56242"/>
                        <a:pt x="32351" y="56371"/>
                        <a:pt x="32827" y="56302"/>
                      </a:cubicBezTo>
                      <a:cubicBezTo>
                        <a:pt x="33306" y="56236"/>
                        <a:pt x="33732" y="55990"/>
                        <a:pt x="34026" y="55605"/>
                      </a:cubicBezTo>
                      <a:cubicBezTo>
                        <a:pt x="34319" y="55220"/>
                        <a:pt x="34445" y="54744"/>
                        <a:pt x="34379" y="54264"/>
                      </a:cubicBezTo>
                      <a:cubicBezTo>
                        <a:pt x="34224" y="53131"/>
                        <a:pt x="33332" y="47153"/>
                        <a:pt x="30982" y="40857"/>
                      </a:cubicBezTo>
                      <a:cubicBezTo>
                        <a:pt x="30799" y="40374"/>
                        <a:pt x="30868" y="39832"/>
                        <a:pt x="31165" y="39406"/>
                      </a:cubicBezTo>
                      <a:cubicBezTo>
                        <a:pt x="31458" y="38980"/>
                        <a:pt x="31944" y="38727"/>
                        <a:pt x="32461" y="38727"/>
                      </a:cubicBezTo>
                      <a:lnTo>
                        <a:pt x="32855" y="38727"/>
                      </a:lnTo>
                      <a:lnTo>
                        <a:pt x="25899" y="26431"/>
                      </a:lnTo>
                      <a:cubicBezTo>
                        <a:pt x="25792" y="26245"/>
                        <a:pt x="25726" y="26036"/>
                        <a:pt x="25704" y="25825"/>
                      </a:cubicBezTo>
                      <a:cubicBezTo>
                        <a:pt x="25474" y="23705"/>
                        <a:pt x="25347" y="21860"/>
                        <a:pt x="25332" y="20339"/>
                      </a:cubicBezTo>
                      <a:cubicBezTo>
                        <a:pt x="25325" y="19721"/>
                        <a:pt x="25679" y="19156"/>
                        <a:pt x="26237" y="18894"/>
                      </a:cubicBezTo>
                      <a:cubicBezTo>
                        <a:pt x="26792" y="18636"/>
                        <a:pt x="27455" y="18721"/>
                        <a:pt x="27928" y="19118"/>
                      </a:cubicBezTo>
                      <a:cubicBezTo>
                        <a:pt x="31843" y="22428"/>
                        <a:pt x="35852" y="23424"/>
                        <a:pt x="36988" y="23655"/>
                      </a:cubicBezTo>
                      <a:cubicBezTo>
                        <a:pt x="37963" y="23847"/>
                        <a:pt x="38925" y="23216"/>
                        <a:pt x="39124" y="22232"/>
                      </a:cubicBezTo>
                      <a:cubicBezTo>
                        <a:pt x="39316" y="21286"/>
                        <a:pt x="38723" y="20355"/>
                        <a:pt x="37796" y="20122"/>
                      </a:cubicBezTo>
                      <a:cubicBezTo>
                        <a:pt x="37764" y="20118"/>
                        <a:pt x="37729" y="20112"/>
                        <a:pt x="37698" y="20106"/>
                      </a:cubicBezTo>
                      <a:cubicBezTo>
                        <a:pt x="37379" y="20039"/>
                        <a:pt x="29862" y="18383"/>
                        <a:pt x="26524" y="11636"/>
                      </a:cubicBezTo>
                      <a:cubicBezTo>
                        <a:pt x="26347" y="11279"/>
                        <a:pt x="26313" y="10869"/>
                        <a:pt x="26426" y="10484"/>
                      </a:cubicBezTo>
                      <a:cubicBezTo>
                        <a:pt x="26451" y="10399"/>
                        <a:pt x="26568" y="10049"/>
                        <a:pt x="26609" y="9967"/>
                      </a:cubicBezTo>
                      <a:cubicBezTo>
                        <a:pt x="27489" y="7456"/>
                        <a:pt x="26104" y="4465"/>
                        <a:pt x="23448" y="3481"/>
                      </a:cubicBezTo>
                      <a:cubicBezTo>
                        <a:pt x="21830" y="2885"/>
                        <a:pt x="20035" y="3112"/>
                        <a:pt x="18641" y="4090"/>
                      </a:cubicBezTo>
                      <a:cubicBezTo>
                        <a:pt x="18477" y="4206"/>
                        <a:pt x="18294" y="4285"/>
                        <a:pt x="18098" y="4333"/>
                      </a:cubicBezTo>
                      <a:cubicBezTo>
                        <a:pt x="14896" y="5083"/>
                        <a:pt x="4356" y="8620"/>
                        <a:pt x="3167" y="22639"/>
                      </a:cubicBezTo>
                      <a:cubicBezTo>
                        <a:pt x="3076" y="23715"/>
                        <a:pt x="3845" y="24667"/>
                        <a:pt x="4902" y="24822"/>
                      </a:cubicBezTo>
                      <a:lnTo>
                        <a:pt x="6492" y="24305"/>
                      </a:lnTo>
                      <a:cubicBezTo>
                        <a:pt x="6792" y="24055"/>
                        <a:pt x="7167" y="23620"/>
                        <a:pt x="7221" y="22980"/>
                      </a:cubicBezTo>
                      <a:cubicBezTo>
                        <a:pt x="7650" y="17926"/>
                        <a:pt x="9530" y="14002"/>
                        <a:pt x="12808" y="11314"/>
                      </a:cubicBezTo>
                      <a:cubicBezTo>
                        <a:pt x="13309" y="10901"/>
                        <a:pt x="14010" y="10837"/>
                        <a:pt x="14577" y="11156"/>
                      </a:cubicBezTo>
                      <a:cubicBezTo>
                        <a:pt x="15145" y="11472"/>
                        <a:pt x="15458" y="12102"/>
                        <a:pt x="15372" y="12746"/>
                      </a:cubicBezTo>
                      <a:cubicBezTo>
                        <a:pt x="15019" y="15349"/>
                        <a:pt x="14704" y="19658"/>
                        <a:pt x="15208" y="25418"/>
                      </a:cubicBezTo>
                      <a:cubicBezTo>
                        <a:pt x="15237" y="25730"/>
                        <a:pt x="15171" y="26036"/>
                        <a:pt x="15025" y="26308"/>
                      </a:cubicBezTo>
                      <a:lnTo>
                        <a:pt x="11155" y="38731"/>
                      </a:lnTo>
                      <a:lnTo>
                        <a:pt x="14783" y="38731"/>
                      </a:lnTo>
                      <a:cubicBezTo>
                        <a:pt x="15297" y="38731"/>
                        <a:pt x="15776" y="38980"/>
                        <a:pt x="16073" y="39399"/>
                      </a:cubicBezTo>
                      <a:cubicBezTo>
                        <a:pt x="16369" y="39819"/>
                        <a:pt x="16442" y="40358"/>
                        <a:pt x="16268" y="40841"/>
                      </a:cubicBezTo>
                      <a:cubicBezTo>
                        <a:pt x="14502" y="45775"/>
                        <a:pt x="11719" y="49535"/>
                        <a:pt x="7991" y="52015"/>
                      </a:cubicBezTo>
                      <a:cubicBezTo>
                        <a:pt x="7587" y="52283"/>
                        <a:pt x="7312" y="52693"/>
                        <a:pt x="7218" y="53169"/>
                      </a:cubicBezTo>
                      <a:cubicBezTo>
                        <a:pt x="7123" y="53643"/>
                        <a:pt x="7218" y="54125"/>
                        <a:pt x="7486" y="54529"/>
                      </a:cubicBezTo>
                      <a:cubicBezTo>
                        <a:pt x="8044" y="55362"/>
                        <a:pt x="9167" y="55583"/>
                        <a:pt x="10000" y="55034"/>
                      </a:cubicBezTo>
                      <a:cubicBezTo>
                        <a:pt x="14972" y="51718"/>
                        <a:pt x="18464" y="46620"/>
                        <a:pt x="20385" y="39876"/>
                      </a:cubicBezTo>
                      <a:cubicBezTo>
                        <a:pt x="20581" y="39198"/>
                        <a:pt x="21199" y="38731"/>
                        <a:pt x="21903" y="38731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Freihandform: Form 39">
                  <a:extLst>
                    <a:ext uri="{FF2B5EF4-FFF2-40B4-BE49-F238E27FC236}">
                      <a16:creationId xmlns:a16="http://schemas.microsoft.com/office/drawing/2014/main" id="{598DCE92-4194-3B7F-2DAB-48D2B9D59829}"/>
                    </a:ext>
                  </a:extLst>
                </p:cNvPr>
                <p:cNvSpPr/>
                <p:nvPr/>
              </p:nvSpPr>
              <p:spPr>
                <a:xfrm>
                  <a:off x="859212" y="5168549"/>
                  <a:ext cx="16719" cy="16719"/>
                </a:xfrm>
                <a:custGeom>
                  <a:avLst/>
                  <a:gdLst>
                    <a:gd name="connsiteX0" fmla="*/ 8360 w 16719"/>
                    <a:gd name="connsiteY0" fmla="*/ 16720 h 16719"/>
                    <a:gd name="connsiteX1" fmla="*/ 0 w 16719"/>
                    <a:gd name="connsiteY1" fmla="*/ 8360 h 16719"/>
                    <a:gd name="connsiteX2" fmla="*/ 8360 w 16719"/>
                    <a:gd name="connsiteY2" fmla="*/ 0 h 16719"/>
                    <a:gd name="connsiteX3" fmla="*/ 16720 w 16719"/>
                    <a:gd name="connsiteY3" fmla="*/ 8360 h 16719"/>
                    <a:gd name="connsiteX4" fmla="*/ 8360 w 16719"/>
                    <a:gd name="connsiteY4" fmla="*/ 16720 h 16719"/>
                    <a:gd name="connsiteX5" fmla="*/ 8360 w 16719"/>
                    <a:gd name="connsiteY5" fmla="*/ 3155 h 16719"/>
                    <a:gd name="connsiteX6" fmla="*/ 3155 w 16719"/>
                    <a:gd name="connsiteY6" fmla="*/ 8360 h 16719"/>
                    <a:gd name="connsiteX7" fmla="*/ 8360 w 16719"/>
                    <a:gd name="connsiteY7" fmla="*/ 13565 h 16719"/>
                    <a:gd name="connsiteX8" fmla="*/ 13565 w 16719"/>
                    <a:gd name="connsiteY8" fmla="*/ 8360 h 16719"/>
                    <a:gd name="connsiteX9" fmla="*/ 8360 w 16719"/>
                    <a:gd name="connsiteY9" fmla="*/ 3155 h 16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6719" h="16719">
                      <a:moveTo>
                        <a:pt x="8360" y="16720"/>
                      </a:moveTo>
                      <a:cubicBezTo>
                        <a:pt x="3751" y="16720"/>
                        <a:pt x="0" y="12969"/>
                        <a:pt x="0" y="8360"/>
                      </a:cubicBezTo>
                      <a:cubicBezTo>
                        <a:pt x="0" y="3751"/>
                        <a:pt x="3751" y="0"/>
                        <a:pt x="8360" y="0"/>
                      </a:cubicBezTo>
                      <a:cubicBezTo>
                        <a:pt x="12969" y="0"/>
                        <a:pt x="16720" y="3751"/>
                        <a:pt x="16720" y="8360"/>
                      </a:cubicBezTo>
                      <a:cubicBezTo>
                        <a:pt x="16720" y="12969"/>
                        <a:pt x="12969" y="16720"/>
                        <a:pt x="8360" y="16720"/>
                      </a:cubicBezTo>
                      <a:close/>
                      <a:moveTo>
                        <a:pt x="8360" y="3155"/>
                      </a:moveTo>
                      <a:cubicBezTo>
                        <a:pt x="5489" y="3155"/>
                        <a:pt x="3155" y="5489"/>
                        <a:pt x="3155" y="8360"/>
                      </a:cubicBezTo>
                      <a:cubicBezTo>
                        <a:pt x="3155" y="11230"/>
                        <a:pt x="5489" y="13565"/>
                        <a:pt x="8360" y="13565"/>
                      </a:cubicBezTo>
                      <a:cubicBezTo>
                        <a:pt x="11230" y="13565"/>
                        <a:pt x="13565" y="11230"/>
                        <a:pt x="13565" y="8360"/>
                      </a:cubicBezTo>
                      <a:cubicBezTo>
                        <a:pt x="13565" y="5489"/>
                        <a:pt x="11230" y="3155"/>
                        <a:pt x="8360" y="315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" name="Freihandform: Form 40">
                  <a:extLst>
                    <a:ext uri="{FF2B5EF4-FFF2-40B4-BE49-F238E27FC236}">
                      <a16:creationId xmlns:a16="http://schemas.microsoft.com/office/drawing/2014/main" id="{548FB35E-8CA3-95C3-08CB-1C868EECF62A}"/>
                    </a:ext>
                  </a:extLst>
                </p:cNvPr>
                <p:cNvSpPr/>
                <p:nvPr/>
              </p:nvSpPr>
              <p:spPr>
                <a:xfrm>
                  <a:off x="893968" y="5383569"/>
                  <a:ext cx="19005" cy="20443"/>
                </a:xfrm>
                <a:custGeom>
                  <a:avLst/>
                  <a:gdLst>
                    <a:gd name="connsiteX0" fmla="*/ 14668 w 19005"/>
                    <a:gd name="connsiteY0" fmla="*/ 20444 h 20443"/>
                    <a:gd name="connsiteX1" fmla="*/ 14280 w 19005"/>
                    <a:gd name="connsiteY1" fmla="*/ 20428 h 20443"/>
                    <a:gd name="connsiteX2" fmla="*/ 375 w 19005"/>
                    <a:gd name="connsiteY2" fmla="*/ 12415 h 20443"/>
                    <a:gd name="connsiteX3" fmla="*/ 2 w 19005"/>
                    <a:gd name="connsiteY3" fmla="*/ 11340 h 20443"/>
                    <a:gd name="connsiteX4" fmla="*/ 264 w 19005"/>
                    <a:gd name="connsiteY4" fmla="*/ 3879 h 20443"/>
                    <a:gd name="connsiteX5" fmla="*/ 81 w 19005"/>
                    <a:gd name="connsiteY5" fmla="*/ 2078 h 20443"/>
                    <a:gd name="connsiteX6" fmla="*/ 1005 w 19005"/>
                    <a:gd name="connsiteY6" fmla="*/ 109 h 20443"/>
                    <a:gd name="connsiteX7" fmla="*/ 3018 w 19005"/>
                    <a:gd name="connsiteY7" fmla="*/ 939 h 20443"/>
                    <a:gd name="connsiteX8" fmla="*/ 15387 w 19005"/>
                    <a:gd name="connsiteY8" fmla="*/ 12188 h 20443"/>
                    <a:gd name="connsiteX9" fmla="*/ 18987 w 19005"/>
                    <a:gd name="connsiteY9" fmla="*/ 16775 h 20443"/>
                    <a:gd name="connsiteX10" fmla="*/ 18987 w 19005"/>
                    <a:gd name="connsiteY10" fmla="*/ 16788 h 20443"/>
                    <a:gd name="connsiteX11" fmla="*/ 14665 w 19005"/>
                    <a:gd name="connsiteY11" fmla="*/ 20444 h 20443"/>
                    <a:gd name="connsiteX12" fmla="*/ 3179 w 19005"/>
                    <a:gd name="connsiteY12" fmla="*/ 10832 h 20443"/>
                    <a:gd name="connsiteX13" fmla="*/ 14630 w 19005"/>
                    <a:gd name="connsiteY13" fmla="*/ 17296 h 20443"/>
                    <a:gd name="connsiteX14" fmla="*/ 15851 w 19005"/>
                    <a:gd name="connsiteY14" fmla="*/ 16482 h 20443"/>
                    <a:gd name="connsiteX15" fmla="*/ 15053 w 19005"/>
                    <a:gd name="connsiteY15" fmla="*/ 15324 h 20443"/>
                    <a:gd name="connsiteX16" fmla="*/ 3289 w 19005"/>
                    <a:gd name="connsiteY16" fmla="*/ 7715 h 20443"/>
                    <a:gd name="connsiteX17" fmla="*/ 3179 w 19005"/>
                    <a:gd name="connsiteY17" fmla="*/ 10832 h 20443"/>
                    <a:gd name="connsiteX18" fmla="*/ 17422 w 19005"/>
                    <a:gd name="connsiteY18" fmla="*/ 16633 h 20443"/>
                    <a:gd name="connsiteX19" fmla="*/ 17454 w 19005"/>
                    <a:gd name="connsiteY19" fmla="*/ 16633 h 20443"/>
                    <a:gd name="connsiteX20" fmla="*/ 17422 w 19005"/>
                    <a:gd name="connsiteY20" fmla="*/ 16633 h 204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9005" h="20443">
                      <a:moveTo>
                        <a:pt x="14668" y="20444"/>
                      </a:moveTo>
                      <a:cubicBezTo>
                        <a:pt x="14539" y="20444"/>
                        <a:pt x="14409" y="20444"/>
                        <a:pt x="14280" y="20428"/>
                      </a:cubicBezTo>
                      <a:cubicBezTo>
                        <a:pt x="7592" y="19498"/>
                        <a:pt x="3037" y="15557"/>
                        <a:pt x="375" y="12415"/>
                      </a:cubicBezTo>
                      <a:cubicBezTo>
                        <a:pt x="122" y="12116"/>
                        <a:pt x="-10" y="11731"/>
                        <a:pt x="2" y="11340"/>
                      </a:cubicBezTo>
                      <a:lnTo>
                        <a:pt x="264" y="3879"/>
                      </a:lnTo>
                      <a:cubicBezTo>
                        <a:pt x="264" y="3229"/>
                        <a:pt x="264" y="2620"/>
                        <a:pt x="81" y="2078"/>
                      </a:cubicBezTo>
                      <a:cubicBezTo>
                        <a:pt x="-184" y="1280"/>
                        <a:pt x="220" y="412"/>
                        <a:pt x="1005" y="109"/>
                      </a:cubicBezTo>
                      <a:cubicBezTo>
                        <a:pt x="1785" y="-200"/>
                        <a:pt x="2674" y="169"/>
                        <a:pt x="3018" y="939"/>
                      </a:cubicBezTo>
                      <a:cubicBezTo>
                        <a:pt x="5879" y="7371"/>
                        <a:pt x="10504" y="11579"/>
                        <a:pt x="15387" y="12188"/>
                      </a:cubicBezTo>
                      <a:cubicBezTo>
                        <a:pt x="17596" y="12390"/>
                        <a:pt x="19198" y="14409"/>
                        <a:pt x="18987" y="16775"/>
                      </a:cubicBezTo>
                      <a:cubicBezTo>
                        <a:pt x="18987" y="16775"/>
                        <a:pt x="18987" y="16785"/>
                        <a:pt x="18987" y="16788"/>
                      </a:cubicBezTo>
                      <a:cubicBezTo>
                        <a:pt x="18782" y="18873"/>
                        <a:pt x="16883" y="20444"/>
                        <a:pt x="14665" y="20444"/>
                      </a:cubicBezTo>
                      <a:close/>
                      <a:moveTo>
                        <a:pt x="3179" y="10832"/>
                      </a:moveTo>
                      <a:cubicBezTo>
                        <a:pt x="5526" y="13466"/>
                        <a:pt x="9324" y="16554"/>
                        <a:pt x="14630" y="17296"/>
                      </a:cubicBezTo>
                      <a:cubicBezTo>
                        <a:pt x="15264" y="17352"/>
                        <a:pt x="15807" y="16911"/>
                        <a:pt x="15851" y="16482"/>
                      </a:cubicBezTo>
                      <a:cubicBezTo>
                        <a:pt x="15895" y="15958"/>
                        <a:pt x="15630" y="15374"/>
                        <a:pt x="15053" y="15324"/>
                      </a:cubicBezTo>
                      <a:cubicBezTo>
                        <a:pt x="10577" y="14762"/>
                        <a:pt x="6482" y="12072"/>
                        <a:pt x="3289" y="7715"/>
                      </a:cubicBezTo>
                      <a:lnTo>
                        <a:pt x="3179" y="10832"/>
                      </a:lnTo>
                      <a:close/>
                      <a:moveTo>
                        <a:pt x="17422" y="16633"/>
                      </a:moveTo>
                      <a:lnTo>
                        <a:pt x="17454" y="16633"/>
                      </a:lnTo>
                      <a:lnTo>
                        <a:pt x="17422" y="166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Freihandform: Form 41">
                  <a:extLst>
                    <a:ext uri="{FF2B5EF4-FFF2-40B4-BE49-F238E27FC236}">
                      <a16:creationId xmlns:a16="http://schemas.microsoft.com/office/drawing/2014/main" id="{0A2A8003-8D82-FB3E-9570-F8E9DF4ED05F}"/>
                    </a:ext>
                  </a:extLst>
                </p:cNvPr>
                <p:cNvSpPr/>
                <p:nvPr/>
              </p:nvSpPr>
              <p:spPr>
                <a:xfrm>
                  <a:off x="862979" y="5416557"/>
                  <a:ext cx="21975" cy="31715"/>
                </a:xfrm>
                <a:custGeom>
                  <a:avLst/>
                  <a:gdLst>
                    <a:gd name="connsiteX0" fmla="*/ 5499 w 21975"/>
                    <a:gd name="connsiteY0" fmla="*/ 31716 h 31715"/>
                    <a:gd name="connsiteX1" fmla="*/ 1969 w 21975"/>
                    <a:gd name="connsiteY1" fmla="*/ 30410 h 31715"/>
                    <a:gd name="connsiteX2" fmla="*/ 1215 w 21975"/>
                    <a:gd name="connsiteY2" fmla="*/ 22744 h 31715"/>
                    <a:gd name="connsiteX3" fmla="*/ 12180 w 21975"/>
                    <a:gd name="connsiteY3" fmla="*/ 9321 h 31715"/>
                    <a:gd name="connsiteX4" fmla="*/ 14837 w 21975"/>
                    <a:gd name="connsiteY4" fmla="*/ 1097 h 31715"/>
                    <a:gd name="connsiteX5" fmla="*/ 15915 w 21975"/>
                    <a:gd name="connsiteY5" fmla="*/ 62 h 31715"/>
                    <a:gd name="connsiteX6" fmla="*/ 17373 w 21975"/>
                    <a:gd name="connsiteY6" fmla="*/ 391 h 31715"/>
                    <a:gd name="connsiteX7" fmla="*/ 20386 w 21975"/>
                    <a:gd name="connsiteY7" fmla="*/ 2362 h 31715"/>
                    <a:gd name="connsiteX8" fmla="*/ 21319 w 21975"/>
                    <a:gd name="connsiteY8" fmla="*/ 3703 h 31715"/>
                    <a:gd name="connsiteX9" fmla="*/ 21972 w 21975"/>
                    <a:gd name="connsiteY9" fmla="*/ 13914 h 31715"/>
                    <a:gd name="connsiteX10" fmla="*/ 21897 w 21975"/>
                    <a:gd name="connsiteY10" fmla="*/ 14507 h 31715"/>
                    <a:gd name="connsiteX11" fmla="*/ 18991 w 21975"/>
                    <a:gd name="connsiteY11" fmla="*/ 18353 h 31715"/>
                    <a:gd name="connsiteX12" fmla="*/ 9707 w 21975"/>
                    <a:gd name="connsiteY12" fmla="*/ 29678 h 31715"/>
                    <a:gd name="connsiteX13" fmla="*/ 6082 w 21975"/>
                    <a:gd name="connsiteY13" fmla="*/ 31684 h 31715"/>
                    <a:gd name="connsiteX14" fmla="*/ 5499 w 21975"/>
                    <a:gd name="connsiteY14" fmla="*/ 31716 h 31715"/>
                    <a:gd name="connsiteX15" fmla="*/ 17158 w 21975"/>
                    <a:gd name="connsiteY15" fmla="*/ 4179 h 31715"/>
                    <a:gd name="connsiteX16" fmla="*/ 15092 w 21975"/>
                    <a:gd name="connsiteY16" fmla="*/ 10574 h 31715"/>
                    <a:gd name="connsiteX17" fmla="*/ 14814 w 21975"/>
                    <a:gd name="connsiteY17" fmla="*/ 11088 h 31715"/>
                    <a:gd name="connsiteX18" fmla="*/ 3688 w 21975"/>
                    <a:gd name="connsiteY18" fmla="*/ 24703 h 31715"/>
                    <a:gd name="connsiteX19" fmla="*/ 3953 w 21975"/>
                    <a:gd name="connsiteY19" fmla="*/ 27953 h 31715"/>
                    <a:gd name="connsiteX20" fmla="*/ 5751 w 21975"/>
                    <a:gd name="connsiteY20" fmla="*/ 28546 h 31715"/>
                    <a:gd name="connsiteX21" fmla="*/ 7240 w 21975"/>
                    <a:gd name="connsiteY21" fmla="*/ 27716 h 31715"/>
                    <a:gd name="connsiteX22" fmla="*/ 16559 w 21975"/>
                    <a:gd name="connsiteY22" fmla="*/ 16347 h 31715"/>
                    <a:gd name="connsiteX23" fmla="*/ 18796 w 21975"/>
                    <a:gd name="connsiteY23" fmla="*/ 13618 h 31715"/>
                    <a:gd name="connsiteX24" fmla="*/ 18231 w 21975"/>
                    <a:gd name="connsiteY24" fmla="*/ 4810 h 31715"/>
                    <a:gd name="connsiteX25" fmla="*/ 17158 w 21975"/>
                    <a:gd name="connsiteY25" fmla="*/ 4173 h 31715"/>
                    <a:gd name="connsiteX26" fmla="*/ 13590 w 21975"/>
                    <a:gd name="connsiteY26" fmla="*/ 10091 h 31715"/>
                    <a:gd name="connsiteX27" fmla="*/ 13622 w 21975"/>
                    <a:gd name="connsiteY27" fmla="*/ 10091 h 31715"/>
                    <a:gd name="connsiteX28" fmla="*/ 13590 w 21975"/>
                    <a:gd name="connsiteY28" fmla="*/ 10091 h 31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1975" h="31715">
                      <a:moveTo>
                        <a:pt x="5499" y="31716"/>
                      </a:moveTo>
                      <a:cubicBezTo>
                        <a:pt x="4212" y="31716"/>
                        <a:pt x="2978" y="31262"/>
                        <a:pt x="1969" y="30410"/>
                      </a:cubicBezTo>
                      <a:cubicBezTo>
                        <a:pt x="-312" y="28656"/>
                        <a:pt x="-675" y="25199"/>
                        <a:pt x="1215" y="22744"/>
                      </a:cubicBezTo>
                      <a:lnTo>
                        <a:pt x="12180" y="9321"/>
                      </a:lnTo>
                      <a:lnTo>
                        <a:pt x="14837" y="1097"/>
                      </a:lnTo>
                      <a:cubicBezTo>
                        <a:pt x="14997" y="592"/>
                        <a:pt x="15404" y="204"/>
                        <a:pt x="15915" y="62"/>
                      </a:cubicBezTo>
                      <a:cubicBezTo>
                        <a:pt x="16417" y="-89"/>
                        <a:pt x="16972" y="40"/>
                        <a:pt x="17373" y="391"/>
                      </a:cubicBezTo>
                      <a:cubicBezTo>
                        <a:pt x="18344" y="1236"/>
                        <a:pt x="19386" y="1917"/>
                        <a:pt x="20386" y="2362"/>
                      </a:cubicBezTo>
                      <a:cubicBezTo>
                        <a:pt x="20922" y="2602"/>
                        <a:pt x="21281" y="3116"/>
                        <a:pt x="21319" y="3703"/>
                      </a:cubicBezTo>
                      <a:lnTo>
                        <a:pt x="21972" y="13914"/>
                      </a:lnTo>
                      <a:cubicBezTo>
                        <a:pt x="21985" y="14113"/>
                        <a:pt x="21960" y="14318"/>
                        <a:pt x="21897" y="14507"/>
                      </a:cubicBezTo>
                      <a:cubicBezTo>
                        <a:pt x="21798" y="14839"/>
                        <a:pt x="20829" y="16120"/>
                        <a:pt x="18991" y="18353"/>
                      </a:cubicBezTo>
                      <a:cubicBezTo>
                        <a:pt x="17288" y="20422"/>
                        <a:pt x="14452" y="23874"/>
                        <a:pt x="9707" y="29678"/>
                      </a:cubicBezTo>
                      <a:cubicBezTo>
                        <a:pt x="8843" y="30801"/>
                        <a:pt x="7543" y="31530"/>
                        <a:pt x="6082" y="31684"/>
                      </a:cubicBezTo>
                      <a:cubicBezTo>
                        <a:pt x="5887" y="31707"/>
                        <a:pt x="5691" y="31716"/>
                        <a:pt x="5499" y="31716"/>
                      </a:cubicBezTo>
                      <a:close/>
                      <a:moveTo>
                        <a:pt x="17158" y="4179"/>
                      </a:moveTo>
                      <a:lnTo>
                        <a:pt x="15092" y="10574"/>
                      </a:lnTo>
                      <a:cubicBezTo>
                        <a:pt x="15032" y="10763"/>
                        <a:pt x="14937" y="10936"/>
                        <a:pt x="14814" y="11088"/>
                      </a:cubicBezTo>
                      <a:lnTo>
                        <a:pt x="3688" y="24703"/>
                      </a:lnTo>
                      <a:cubicBezTo>
                        <a:pt x="2890" y="25741"/>
                        <a:pt x="2994" y="27218"/>
                        <a:pt x="3953" y="27953"/>
                      </a:cubicBezTo>
                      <a:cubicBezTo>
                        <a:pt x="4505" y="28416"/>
                        <a:pt x="5114" y="28621"/>
                        <a:pt x="5751" y="28546"/>
                      </a:cubicBezTo>
                      <a:cubicBezTo>
                        <a:pt x="6347" y="28479"/>
                        <a:pt x="6877" y="28189"/>
                        <a:pt x="7240" y="27716"/>
                      </a:cubicBezTo>
                      <a:cubicBezTo>
                        <a:pt x="12016" y="21867"/>
                        <a:pt x="14855" y="18419"/>
                        <a:pt x="16559" y="16347"/>
                      </a:cubicBezTo>
                      <a:cubicBezTo>
                        <a:pt x="17900" y="14716"/>
                        <a:pt x="18509" y="13981"/>
                        <a:pt x="18796" y="13618"/>
                      </a:cubicBezTo>
                      <a:lnTo>
                        <a:pt x="18231" y="4810"/>
                      </a:lnTo>
                      <a:cubicBezTo>
                        <a:pt x="17871" y="4615"/>
                        <a:pt x="17512" y="4403"/>
                        <a:pt x="17158" y="4173"/>
                      </a:cubicBezTo>
                      <a:close/>
                      <a:moveTo>
                        <a:pt x="13590" y="10091"/>
                      </a:moveTo>
                      <a:lnTo>
                        <a:pt x="13622" y="10091"/>
                      </a:lnTo>
                      <a:lnTo>
                        <a:pt x="13590" y="1009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Freihandform: Form 42">
                  <a:extLst>
                    <a:ext uri="{FF2B5EF4-FFF2-40B4-BE49-F238E27FC236}">
                      <a16:creationId xmlns:a16="http://schemas.microsoft.com/office/drawing/2014/main" id="{C539CC3C-178E-6ED5-2E34-167F80E9C615}"/>
                    </a:ext>
                  </a:extLst>
                </p:cNvPr>
                <p:cNvSpPr/>
                <p:nvPr/>
              </p:nvSpPr>
              <p:spPr>
                <a:xfrm>
                  <a:off x="838701" y="5406489"/>
                  <a:ext cx="30414" cy="40619"/>
                </a:xfrm>
                <a:custGeom>
                  <a:avLst/>
                  <a:gdLst>
                    <a:gd name="connsiteX0" fmla="*/ 12884 w 30414"/>
                    <a:gd name="connsiteY0" fmla="*/ 40620 h 40619"/>
                    <a:gd name="connsiteX1" fmla="*/ 12215 w 30414"/>
                    <a:gd name="connsiteY1" fmla="*/ 40538 h 40619"/>
                    <a:gd name="connsiteX2" fmla="*/ 10373 w 30414"/>
                    <a:gd name="connsiteY2" fmla="*/ 38418 h 40619"/>
                    <a:gd name="connsiteX3" fmla="*/ 9060 w 30414"/>
                    <a:gd name="connsiteY3" fmla="*/ 37995 h 40619"/>
                    <a:gd name="connsiteX4" fmla="*/ 6464 w 30414"/>
                    <a:gd name="connsiteY4" fmla="*/ 38708 h 40619"/>
                    <a:gd name="connsiteX5" fmla="*/ 6136 w 30414"/>
                    <a:gd name="connsiteY5" fmla="*/ 38588 h 40619"/>
                    <a:gd name="connsiteX6" fmla="*/ 4619 w 30414"/>
                    <a:gd name="connsiteY6" fmla="*/ 36484 h 40619"/>
                    <a:gd name="connsiteX7" fmla="*/ 4559 w 30414"/>
                    <a:gd name="connsiteY7" fmla="*/ 36468 h 40619"/>
                    <a:gd name="connsiteX8" fmla="*/ 2322 w 30414"/>
                    <a:gd name="connsiteY8" fmla="*/ 33194 h 40619"/>
                    <a:gd name="connsiteX9" fmla="*/ 111 w 30414"/>
                    <a:gd name="connsiteY9" fmla="*/ 29481 h 40619"/>
                    <a:gd name="connsiteX10" fmla="*/ 6127 w 30414"/>
                    <a:gd name="connsiteY10" fmla="*/ 10900 h 40619"/>
                    <a:gd name="connsiteX11" fmla="*/ 10199 w 30414"/>
                    <a:gd name="connsiteY11" fmla="*/ 9256 h 40619"/>
                    <a:gd name="connsiteX12" fmla="*/ 14086 w 30414"/>
                    <a:gd name="connsiteY12" fmla="*/ 7521 h 40619"/>
                    <a:gd name="connsiteX13" fmla="*/ 16023 w 30414"/>
                    <a:gd name="connsiteY13" fmla="*/ 8114 h 40619"/>
                    <a:gd name="connsiteX14" fmla="*/ 16338 w 30414"/>
                    <a:gd name="connsiteY14" fmla="*/ 7124 h 40619"/>
                    <a:gd name="connsiteX15" fmla="*/ 17127 w 30414"/>
                    <a:gd name="connsiteY15" fmla="*/ 6193 h 40619"/>
                    <a:gd name="connsiteX16" fmla="*/ 18341 w 30414"/>
                    <a:gd name="connsiteY16" fmla="*/ 6102 h 40619"/>
                    <a:gd name="connsiteX17" fmla="*/ 21875 w 30414"/>
                    <a:gd name="connsiteY17" fmla="*/ 7278 h 40619"/>
                    <a:gd name="connsiteX18" fmla="*/ 22786 w 30414"/>
                    <a:gd name="connsiteY18" fmla="*/ 8070 h 40619"/>
                    <a:gd name="connsiteX19" fmla="*/ 22871 w 30414"/>
                    <a:gd name="connsiteY19" fmla="*/ 9275 h 40619"/>
                    <a:gd name="connsiteX20" fmla="*/ 22581 w 30414"/>
                    <a:gd name="connsiteY20" fmla="*/ 10149 h 40619"/>
                    <a:gd name="connsiteX21" fmla="*/ 22998 w 30414"/>
                    <a:gd name="connsiteY21" fmla="*/ 10294 h 40619"/>
                    <a:gd name="connsiteX22" fmla="*/ 26029 w 30414"/>
                    <a:gd name="connsiteY22" fmla="*/ 1079 h 40619"/>
                    <a:gd name="connsiteX23" fmla="*/ 27162 w 30414"/>
                    <a:gd name="connsiteY23" fmla="*/ 38 h 40619"/>
                    <a:gd name="connsiteX24" fmla="*/ 28641 w 30414"/>
                    <a:gd name="connsiteY24" fmla="*/ 458 h 40619"/>
                    <a:gd name="connsiteX25" fmla="*/ 29215 w 30414"/>
                    <a:gd name="connsiteY25" fmla="*/ 695 h 40619"/>
                    <a:gd name="connsiteX26" fmla="*/ 30222 w 30414"/>
                    <a:gd name="connsiteY26" fmla="*/ 1471 h 40619"/>
                    <a:gd name="connsiteX27" fmla="*/ 30329 w 30414"/>
                    <a:gd name="connsiteY27" fmla="*/ 2736 h 40619"/>
                    <a:gd name="connsiteX28" fmla="*/ 26673 w 30414"/>
                    <a:gd name="connsiteY28" fmla="*/ 13430 h 40619"/>
                    <a:gd name="connsiteX29" fmla="*/ 26531 w 30414"/>
                    <a:gd name="connsiteY29" fmla="*/ 14894 h 40619"/>
                    <a:gd name="connsiteX30" fmla="*/ 19073 w 30414"/>
                    <a:gd name="connsiteY30" fmla="*/ 37799 h 40619"/>
                    <a:gd name="connsiteX31" fmla="*/ 14915 w 30414"/>
                    <a:gd name="connsiteY31" fmla="*/ 39872 h 40619"/>
                    <a:gd name="connsiteX32" fmla="*/ 14814 w 30414"/>
                    <a:gd name="connsiteY32" fmla="*/ 39844 h 40619"/>
                    <a:gd name="connsiteX33" fmla="*/ 14070 w 30414"/>
                    <a:gd name="connsiteY33" fmla="*/ 40358 h 40619"/>
                    <a:gd name="connsiteX34" fmla="*/ 12887 w 30414"/>
                    <a:gd name="connsiteY34" fmla="*/ 40620 h 40619"/>
                    <a:gd name="connsiteX35" fmla="*/ 12407 w 30414"/>
                    <a:gd name="connsiteY35" fmla="*/ 37891 h 40619"/>
                    <a:gd name="connsiteX36" fmla="*/ 12382 w 30414"/>
                    <a:gd name="connsiteY36" fmla="*/ 37967 h 40619"/>
                    <a:gd name="connsiteX37" fmla="*/ 12407 w 30414"/>
                    <a:gd name="connsiteY37" fmla="*/ 37891 h 40619"/>
                    <a:gd name="connsiteX38" fmla="*/ 14038 w 30414"/>
                    <a:gd name="connsiteY38" fmla="*/ 36386 h 40619"/>
                    <a:gd name="connsiteX39" fmla="*/ 14490 w 30414"/>
                    <a:gd name="connsiteY39" fmla="*/ 36452 h 40619"/>
                    <a:gd name="connsiteX40" fmla="*/ 15799 w 30414"/>
                    <a:gd name="connsiteY40" fmla="*/ 36843 h 40619"/>
                    <a:gd name="connsiteX41" fmla="*/ 16120 w 30414"/>
                    <a:gd name="connsiteY41" fmla="*/ 36689 h 40619"/>
                    <a:gd name="connsiteX42" fmla="*/ 23531 w 30414"/>
                    <a:gd name="connsiteY42" fmla="*/ 13906 h 40619"/>
                    <a:gd name="connsiteX43" fmla="*/ 23502 w 30414"/>
                    <a:gd name="connsiteY43" fmla="*/ 13805 h 40619"/>
                    <a:gd name="connsiteX44" fmla="*/ 23477 w 30414"/>
                    <a:gd name="connsiteY44" fmla="*/ 13796 h 40619"/>
                    <a:gd name="connsiteX45" fmla="*/ 20073 w 30414"/>
                    <a:gd name="connsiteY45" fmla="*/ 12622 h 40619"/>
                    <a:gd name="connsiteX46" fmla="*/ 19092 w 30414"/>
                    <a:gd name="connsiteY46" fmla="*/ 10632 h 40619"/>
                    <a:gd name="connsiteX47" fmla="*/ 19379 w 30414"/>
                    <a:gd name="connsiteY47" fmla="*/ 9774 h 40619"/>
                    <a:gd name="connsiteX48" fmla="*/ 18862 w 30414"/>
                    <a:gd name="connsiteY48" fmla="*/ 9600 h 40619"/>
                    <a:gd name="connsiteX49" fmla="*/ 18559 w 30414"/>
                    <a:gd name="connsiteY49" fmla="*/ 10559 h 40619"/>
                    <a:gd name="connsiteX50" fmla="*/ 16591 w 30414"/>
                    <a:gd name="connsiteY50" fmla="*/ 11591 h 40619"/>
                    <a:gd name="connsiteX51" fmla="*/ 13187 w 30414"/>
                    <a:gd name="connsiteY51" fmla="*/ 10543 h 40619"/>
                    <a:gd name="connsiteX52" fmla="*/ 12808 w 30414"/>
                    <a:gd name="connsiteY52" fmla="*/ 11433 h 40619"/>
                    <a:gd name="connsiteX53" fmla="*/ 10859 w 30414"/>
                    <a:gd name="connsiteY53" fmla="*/ 12515 h 40619"/>
                    <a:gd name="connsiteX54" fmla="*/ 8956 w 30414"/>
                    <a:gd name="connsiteY54" fmla="*/ 12401 h 40619"/>
                    <a:gd name="connsiteX55" fmla="*/ 3265 w 30414"/>
                    <a:gd name="connsiteY55" fmla="*/ 29973 h 40619"/>
                    <a:gd name="connsiteX56" fmla="*/ 4587 w 30414"/>
                    <a:gd name="connsiteY56" fmla="*/ 30837 h 40619"/>
                    <a:gd name="connsiteX57" fmla="*/ 5619 w 30414"/>
                    <a:gd name="connsiteY57" fmla="*/ 32714 h 40619"/>
                    <a:gd name="connsiteX58" fmla="*/ 5489 w 30414"/>
                    <a:gd name="connsiteY58" fmla="*/ 33238 h 40619"/>
                    <a:gd name="connsiteX59" fmla="*/ 6767 w 30414"/>
                    <a:gd name="connsiteY59" fmla="*/ 33831 h 40619"/>
                    <a:gd name="connsiteX60" fmla="*/ 7713 w 30414"/>
                    <a:gd name="connsiteY60" fmla="*/ 34613 h 40619"/>
                    <a:gd name="connsiteX61" fmla="*/ 7751 w 30414"/>
                    <a:gd name="connsiteY61" fmla="*/ 34692 h 40619"/>
                    <a:gd name="connsiteX62" fmla="*/ 8887 w 30414"/>
                    <a:gd name="connsiteY62" fmla="*/ 34626 h 40619"/>
                    <a:gd name="connsiteX63" fmla="*/ 12553 w 30414"/>
                    <a:gd name="connsiteY63" fmla="*/ 35799 h 40619"/>
                    <a:gd name="connsiteX64" fmla="*/ 13430 w 30414"/>
                    <a:gd name="connsiteY64" fmla="*/ 36503 h 40619"/>
                    <a:gd name="connsiteX65" fmla="*/ 14032 w 30414"/>
                    <a:gd name="connsiteY65" fmla="*/ 36383 h 40619"/>
                    <a:gd name="connsiteX66" fmla="*/ 3114 w 30414"/>
                    <a:gd name="connsiteY66" fmla="*/ 30449 h 40619"/>
                    <a:gd name="connsiteX67" fmla="*/ 3108 w 30414"/>
                    <a:gd name="connsiteY67" fmla="*/ 30468 h 40619"/>
                    <a:gd name="connsiteX68" fmla="*/ 3114 w 30414"/>
                    <a:gd name="connsiteY68" fmla="*/ 30449 h 406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</a:cxnLst>
                  <a:rect l="l" t="t" r="r" b="b"/>
                  <a:pathLst>
                    <a:path w="30414" h="40619">
                      <a:moveTo>
                        <a:pt x="12884" y="40620"/>
                      </a:moveTo>
                      <a:cubicBezTo>
                        <a:pt x="12660" y="40620"/>
                        <a:pt x="12433" y="40591"/>
                        <a:pt x="12215" y="40538"/>
                      </a:cubicBezTo>
                      <a:cubicBezTo>
                        <a:pt x="11237" y="40291"/>
                        <a:pt x="10534" y="39421"/>
                        <a:pt x="10373" y="38418"/>
                      </a:cubicBezTo>
                      <a:lnTo>
                        <a:pt x="9060" y="37995"/>
                      </a:lnTo>
                      <a:cubicBezTo>
                        <a:pt x="8338" y="38664"/>
                        <a:pt x="7373" y="38932"/>
                        <a:pt x="6464" y="38708"/>
                      </a:cubicBezTo>
                      <a:cubicBezTo>
                        <a:pt x="6351" y="38679"/>
                        <a:pt x="6243" y="38642"/>
                        <a:pt x="6136" y="38588"/>
                      </a:cubicBezTo>
                      <a:cubicBezTo>
                        <a:pt x="5322" y="38181"/>
                        <a:pt x="4764" y="37370"/>
                        <a:pt x="4619" y="36484"/>
                      </a:cubicBezTo>
                      <a:lnTo>
                        <a:pt x="4559" y="36468"/>
                      </a:lnTo>
                      <a:cubicBezTo>
                        <a:pt x="3146" y="35998"/>
                        <a:pt x="2262" y="34626"/>
                        <a:pt x="2322" y="33194"/>
                      </a:cubicBezTo>
                      <a:cubicBezTo>
                        <a:pt x="1095" y="32436"/>
                        <a:pt x="-426" y="31093"/>
                        <a:pt x="111" y="29481"/>
                      </a:cubicBezTo>
                      <a:lnTo>
                        <a:pt x="6127" y="10900"/>
                      </a:lnTo>
                      <a:cubicBezTo>
                        <a:pt x="6666" y="9291"/>
                        <a:pt x="8732" y="9133"/>
                        <a:pt x="10199" y="9256"/>
                      </a:cubicBezTo>
                      <a:cubicBezTo>
                        <a:pt x="10893" y="7827"/>
                        <a:pt x="12540" y="7080"/>
                        <a:pt x="14086" y="7521"/>
                      </a:cubicBezTo>
                      <a:lnTo>
                        <a:pt x="16023" y="8114"/>
                      </a:lnTo>
                      <a:lnTo>
                        <a:pt x="16338" y="7124"/>
                      </a:lnTo>
                      <a:cubicBezTo>
                        <a:pt x="16464" y="6720"/>
                        <a:pt x="16748" y="6386"/>
                        <a:pt x="17127" y="6193"/>
                      </a:cubicBezTo>
                      <a:cubicBezTo>
                        <a:pt x="17502" y="5998"/>
                        <a:pt x="17938" y="5972"/>
                        <a:pt x="18341" y="6102"/>
                      </a:cubicBezTo>
                      <a:lnTo>
                        <a:pt x="21875" y="7278"/>
                      </a:lnTo>
                      <a:cubicBezTo>
                        <a:pt x="22269" y="7411"/>
                        <a:pt x="22597" y="7698"/>
                        <a:pt x="22786" y="8070"/>
                      </a:cubicBezTo>
                      <a:cubicBezTo>
                        <a:pt x="22972" y="8442"/>
                        <a:pt x="23004" y="8878"/>
                        <a:pt x="22871" y="9275"/>
                      </a:cubicBezTo>
                      <a:lnTo>
                        <a:pt x="22581" y="10149"/>
                      </a:lnTo>
                      <a:lnTo>
                        <a:pt x="22998" y="10294"/>
                      </a:lnTo>
                      <a:lnTo>
                        <a:pt x="26029" y="1079"/>
                      </a:lnTo>
                      <a:cubicBezTo>
                        <a:pt x="26203" y="559"/>
                        <a:pt x="26629" y="165"/>
                        <a:pt x="27162" y="38"/>
                      </a:cubicBezTo>
                      <a:cubicBezTo>
                        <a:pt x="27689" y="-78"/>
                        <a:pt x="28256" y="73"/>
                        <a:pt x="28641" y="458"/>
                      </a:cubicBezTo>
                      <a:cubicBezTo>
                        <a:pt x="28689" y="496"/>
                        <a:pt x="28928" y="625"/>
                        <a:pt x="29215" y="695"/>
                      </a:cubicBezTo>
                      <a:cubicBezTo>
                        <a:pt x="29644" y="799"/>
                        <a:pt x="30007" y="1083"/>
                        <a:pt x="30222" y="1471"/>
                      </a:cubicBezTo>
                      <a:cubicBezTo>
                        <a:pt x="30433" y="1859"/>
                        <a:pt x="30474" y="2319"/>
                        <a:pt x="30329" y="2736"/>
                      </a:cubicBezTo>
                      <a:lnTo>
                        <a:pt x="26673" y="13430"/>
                      </a:lnTo>
                      <a:cubicBezTo>
                        <a:pt x="26748" y="13916"/>
                        <a:pt x="26701" y="14379"/>
                        <a:pt x="26531" y="14894"/>
                      </a:cubicBezTo>
                      <a:lnTo>
                        <a:pt x="19073" y="37799"/>
                      </a:lnTo>
                      <a:cubicBezTo>
                        <a:pt x="18338" y="39541"/>
                        <a:pt x="16616" y="40355"/>
                        <a:pt x="14915" y="39872"/>
                      </a:cubicBezTo>
                      <a:lnTo>
                        <a:pt x="14814" y="39844"/>
                      </a:lnTo>
                      <a:cubicBezTo>
                        <a:pt x="14606" y="40045"/>
                        <a:pt x="14354" y="40225"/>
                        <a:pt x="14070" y="40358"/>
                      </a:cubicBezTo>
                      <a:cubicBezTo>
                        <a:pt x="13695" y="40534"/>
                        <a:pt x="13291" y="40620"/>
                        <a:pt x="12887" y="40620"/>
                      </a:cubicBezTo>
                      <a:close/>
                      <a:moveTo>
                        <a:pt x="12407" y="37891"/>
                      </a:moveTo>
                      <a:cubicBezTo>
                        <a:pt x="12398" y="37919"/>
                        <a:pt x="12389" y="37948"/>
                        <a:pt x="12382" y="37967"/>
                      </a:cubicBezTo>
                      <a:lnTo>
                        <a:pt x="12407" y="37891"/>
                      </a:lnTo>
                      <a:close/>
                      <a:moveTo>
                        <a:pt x="14038" y="36386"/>
                      </a:moveTo>
                      <a:cubicBezTo>
                        <a:pt x="14187" y="36386"/>
                        <a:pt x="14338" y="36408"/>
                        <a:pt x="14490" y="36452"/>
                      </a:cubicBezTo>
                      <a:lnTo>
                        <a:pt x="15799" y="36843"/>
                      </a:lnTo>
                      <a:cubicBezTo>
                        <a:pt x="16007" y="36907"/>
                        <a:pt x="16073" y="36802"/>
                        <a:pt x="16120" y="36689"/>
                      </a:cubicBezTo>
                      <a:lnTo>
                        <a:pt x="23531" y="13906"/>
                      </a:lnTo>
                      <a:cubicBezTo>
                        <a:pt x="23521" y="13875"/>
                        <a:pt x="23512" y="13840"/>
                        <a:pt x="23502" y="13805"/>
                      </a:cubicBezTo>
                      <a:cubicBezTo>
                        <a:pt x="23493" y="13805"/>
                        <a:pt x="23487" y="13799"/>
                        <a:pt x="23477" y="13796"/>
                      </a:cubicBezTo>
                      <a:lnTo>
                        <a:pt x="20073" y="12622"/>
                      </a:lnTo>
                      <a:cubicBezTo>
                        <a:pt x="19256" y="12342"/>
                        <a:pt x="18818" y="11452"/>
                        <a:pt x="19092" y="10632"/>
                      </a:cubicBezTo>
                      <a:lnTo>
                        <a:pt x="19379" y="9774"/>
                      </a:lnTo>
                      <a:lnTo>
                        <a:pt x="18862" y="9600"/>
                      </a:lnTo>
                      <a:lnTo>
                        <a:pt x="18559" y="10559"/>
                      </a:lnTo>
                      <a:cubicBezTo>
                        <a:pt x="18297" y="11382"/>
                        <a:pt x="17420" y="11856"/>
                        <a:pt x="16591" y="11591"/>
                      </a:cubicBezTo>
                      <a:lnTo>
                        <a:pt x="13187" y="10543"/>
                      </a:lnTo>
                      <a:lnTo>
                        <a:pt x="12808" y="11433"/>
                      </a:lnTo>
                      <a:cubicBezTo>
                        <a:pt x="12568" y="12272"/>
                        <a:pt x="11691" y="12761"/>
                        <a:pt x="10859" y="12515"/>
                      </a:cubicBezTo>
                      <a:cubicBezTo>
                        <a:pt x="10398" y="12383"/>
                        <a:pt x="9477" y="12335"/>
                        <a:pt x="8956" y="12401"/>
                      </a:cubicBezTo>
                      <a:lnTo>
                        <a:pt x="3265" y="29973"/>
                      </a:lnTo>
                      <a:cubicBezTo>
                        <a:pt x="3612" y="30301"/>
                        <a:pt x="4278" y="30736"/>
                        <a:pt x="4587" y="30837"/>
                      </a:cubicBezTo>
                      <a:cubicBezTo>
                        <a:pt x="5366" y="31099"/>
                        <a:pt x="5817" y="31916"/>
                        <a:pt x="5619" y="32714"/>
                      </a:cubicBezTo>
                      <a:lnTo>
                        <a:pt x="5489" y="33238"/>
                      </a:lnTo>
                      <a:lnTo>
                        <a:pt x="6767" y="33831"/>
                      </a:lnTo>
                      <a:cubicBezTo>
                        <a:pt x="7174" y="33954"/>
                        <a:pt x="7518" y="34238"/>
                        <a:pt x="7713" y="34613"/>
                      </a:cubicBezTo>
                      <a:cubicBezTo>
                        <a:pt x="7726" y="34642"/>
                        <a:pt x="7739" y="34667"/>
                        <a:pt x="7751" y="34692"/>
                      </a:cubicBezTo>
                      <a:cubicBezTo>
                        <a:pt x="8095" y="34534"/>
                        <a:pt x="8499" y="34500"/>
                        <a:pt x="8887" y="34626"/>
                      </a:cubicBezTo>
                      <a:lnTo>
                        <a:pt x="12553" y="35799"/>
                      </a:lnTo>
                      <a:cubicBezTo>
                        <a:pt x="12922" y="35919"/>
                        <a:pt x="13234" y="36168"/>
                        <a:pt x="13430" y="36503"/>
                      </a:cubicBezTo>
                      <a:cubicBezTo>
                        <a:pt x="13619" y="36427"/>
                        <a:pt x="13824" y="36383"/>
                        <a:pt x="14032" y="36383"/>
                      </a:cubicBezTo>
                      <a:close/>
                      <a:moveTo>
                        <a:pt x="3114" y="30449"/>
                      </a:moveTo>
                      <a:lnTo>
                        <a:pt x="3108" y="30468"/>
                      </a:lnTo>
                      <a:cubicBezTo>
                        <a:pt x="3108" y="30468"/>
                        <a:pt x="3111" y="30455"/>
                        <a:pt x="3114" y="3044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" name="Freihandform: Form 43">
                  <a:extLst>
                    <a:ext uri="{FF2B5EF4-FFF2-40B4-BE49-F238E27FC236}">
                      <a16:creationId xmlns:a16="http://schemas.microsoft.com/office/drawing/2014/main" id="{9F8659DA-86D5-BDA5-5A50-472D5D83638D}"/>
                    </a:ext>
                  </a:extLst>
                </p:cNvPr>
                <p:cNvSpPr/>
                <p:nvPr/>
              </p:nvSpPr>
              <p:spPr>
                <a:xfrm>
                  <a:off x="878134" y="5359189"/>
                  <a:ext cx="18076" cy="18072"/>
                </a:xfrm>
                <a:custGeom>
                  <a:avLst/>
                  <a:gdLst>
                    <a:gd name="connsiteX0" fmla="*/ 9038 w 18076"/>
                    <a:gd name="connsiteY0" fmla="*/ 18073 h 18072"/>
                    <a:gd name="connsiteX1" fmla="*/ 0 w 18076"/>
                    <a:gd name="connsiteY1" fmla="*/ 9038 h 18072"/>
                    <a:gd name="connsiteX2" fmla="*/ 9038 w 18076"/>
                    <a:gd name="connsiteY2" fmla="*/ 0 h 18072"/>
                    <a:gd name="connsiteX3" fmla="*/ 18076 w 18076"/>
                    <a:gd name="connsiteY3" fmla="*/ 9038 h 18072"/>
                    <a:gd name="connsiteX4" fmla="*/ 9038 w 18076"/>
                    <a:gd name="connsiteY4" fmla="*/ 18073 h 18072"/>
                    <a:gd name="connsiteX5" fmla="*/ 9038 w 18076"/>
                    <a:gd name="connsiteY5" fmla="*/ 3151 h 18072"/>
                    <a:gd name="connsiteX6" fmla="*/ 3155 w 18076"/>
                    <a:gd name="connsiteY6" fmla="*/ 9035 h 18072"/>
                    <a:gd name="connsiteX7" fmla="*/ 9038 w 18076"/>
                    <a:gd name="connsiteY7" fmla="*/ 14915 h 18072"/>
                    <a:gd name="connsiteX8" fmla="*/ 14921 w 18076"/>
                    <a:gd name="connsiteY8" fmla="*/ 9035 h 18072"/>
                    <a:gd name="connsiteX9" fmla="*/ 9038 w 18076"/>
                    <a:gd name="connsiteY9" fmla="*/ 3151 h 180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8076" h="18072">
                      <a:moveTo>
                        <a:pt x="9038" y="18073"/>
                      </a:moveTo>
                      <a:cubicBezTo>
                        <a:pt x="4054" y="18073"/>
                        <a:pt x="0" y="14019"/>
                        <a:pt x="0" y="9038"/>
                      </a:cubicBezTo>
                      <a:cubicBezTo>
                        <a:pt x="0" y="4057"/>
                        <a:pt x="4054" y="0"/>
                        <a:pt x="9038" y="0"/>
                      </a:cubicBezTo>
                      <a:cubicBezTo>
                        <a:pt x="14022" y="0"/>
                        <a:pt x="18076" y="4054"/>
                        <a:pt x="18076" y="9038"/>
                      </a:cubicBezTo>
                      <a:cubicBezTo>
                        <a:pt x="18076" y="14022"/>
                        <a:pt x="14022" y="18073"/>
                        <a:pt x="9038" y="18073"/>
                      </a:cubicBezTo>
                      <a:close/>
                      <a:moveTo>
                        <a:pt x="9038" y="3151"/>
                      </a:moveTo>
                      <a:cubicBezTo>
                        <a:pt x="5795" y="3151"/>
                        <a:pt x="3155" y="5792"/>
                        <a:pt x="3155" y="9035"/>
                      </a:cubicBezTo>
                      <a:cubicBezTo>
                        <a:pt x="3155" y="12278"/>
                        <a:pt x="5795" y="14915"/>
                        <a:pt x="9038" y="14915"/>
                      </a:cubicBezTo>
                      <a:cubicBezTo>
                        <a:pt x="12281" y="14915"/>
                        <a:pt x="14921" y="12278"/>
                        <a:pt x="14921" y="9035"/>
                      </a:cubicBezTo>
                      <a:cubicBezTo>
                        <a:pt x="14921" y="5792"/>
                        <a:pt x="12284" y="3151"/>
                        <a:pt x="9038" y="3151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" name="Freihandform: Form 44">
                  <a:extLst>
                    <a:ext uri="{FF2B5EF4-FFF2-40B4-BE49-F238E27FC236}">
                      <a16:creationId xmlns:a16="http://schemas.microsoft.com/office/drawing/2014/main" id="{9DA146EA-8DFC-A1BE-D450-152BE65488CF}"/>
                    </a:ext>
                  </a:extLst>
                </p:cNvPr>
                <p:cNvSpPr/>
                <p:nvPr/>
              </p:nvSpPr>
              <p:spPr>
                <a:xfrm>
                  <a:off x="864246" y="5377802"/>
                  <a:ext cx="31718" cy="70325"/>
                </a:xfrm>
                <a:custGeom>
                  <a:avLst/>
                  <a:gdLst>
                    <a:gd name="connsiteX0" fmla="*/ 25310 w 31718"/>
                    <a:gd name="connsiteY0" fmla="*/ 70325 h 70325"/>
                    <a:gd name="connsiteX1" fmla="*/ 19783 w 31718"/>
                    <a:gd name="connsiteY1" fmla="*/ 65174 h 70325"/>
                    <a:gd name="connsiteX2" fmla="*/ 18285 w 31718"/>
                    <a:gd name="connsiteY2" fmla="*/ 42710 h 70325"/>
                    <a:gd name="connsiteX3" fmla="*/ 12187 w 31718"/>
                    <a:gd name="connsiteY3" fmla="*/ 33602 h 70325"/>
                    <a:gd name="connsiteX4" fmla="*/ 12550 w 31718"/>
                    <a:gd name="connsiteY4" fmla="*/ 20741 h 70325"/>
                    <a:gd name="connsiteX5" fmla="*/ 7969 w 31718"/>
                    <a:gd name="connsiteY5" fmla="*/ 29006 h 70325"/>
                    <a:gd name="connsiteX6" fmla="*/ 5540 w 31718"/>
                    <a:gd name="connsiteY6" fmla="*/ 31107 h 70325"/>
                    <a:gd name="connsiteX7" fmla="*/ 2326 w 31718"/>
                    <a:gd name="connsiteY7" fmla="*/ 30877 h 70325"/>
                    <a:gd name="connsiteX8" fmla="*/ 442 w 31718"/>
                    <a:gd name="connsiteY8" fmla="*/ 25227 h 70325"/>
                    <a:gd name="connsiteX9" fmla="*/ 14717 w 31718"/>
                    <a:gd name="connsiteY9" fmla="*/ 3769 h 70325"/>
                    <a:gd name="connsiteX10" fmla="*/ 22597 w 31718"/>
                    <a:gd name="connsiteY10" fmla="*/ 9 h 70325"/>
                    <a:gd name="connsiteX11" fmla="*/ 29373 w 31718"/>
                    <a:gd name="connsiteY11" fmla="*/ 3062 h 70325"/>
                    <a:gd name="connsiteX12" fmla="*/ 31702 w 31718"/>
                    <a:gd name="connsiteY12" fmla="*/ 9665 h 70325"/>
                    <a:gd name="connsiteX13" fmla="*/ 31052 w 31718"/>
                    <a:gd name="connsiteY13" fmla="*/ 34094 h 70325"/>
                    <a:gd name="connsiteX14" fmla="*/ 29127 w 31718"/>
                    <a:gd name="connsiteY14" fmla="*/ 39552 h 70325"/>
                    <a:gd name="connsiteX15" fmla="*/ 30787 w 31718"/>
                    <a:gd name="connsiteY15" fmla="*/ 64448 h 70325"/>
                    <a:gd name="connsiteX16" fmla="*/ 25638 w 31718"/>
                    <a:gd name="connsiteY16" fmla="*/ 70316 h 70325"/>
                    <a:gd name="connsiteX17" fmla="*/ 25310 w 31718"/>
                    <a:gd name="connsiteY17" fmla="*/ 70325 h 70325"/>
                    <a:gd name="connsiteX18" fmla="*/ 14285 w 31718"/>
                    <a:gd name="connsiteY18" fmla="*/ 13621 h 70325"/>
                    <a:gd name="connsiteX19" fmla="*/ 14783 w 31718"/>
                    <a:gd name="connsiteY19" fmla="*/ 13700 h 70325"/>
                    <a:gd name="connsiteX20" fmla="*/ 15862 w 31718"/>
                    <a:gd name="connsiteY20" fmla="*/ 15242 h 70325"/>
                    <a:gd name="connsiteX21" fmla="*/ 15338 w 31718"/>
                    <a:gd name="connsiteY21" fmla="*/ 33703 h 70325"/>
                    <a:gd name="connsiteX22" fmla="*/ 20127 w 31718"/>
                    <a:gd name="connsiteY22" fmla="*/ 39968 h 70325"/>
                    <a:gd name="connsiteX23" fmla="*/ 21361 w 31718"/>
                    <a:gd name="connsiteY23" fmla="*/ 41404 h 70325"/>
                    <a:gd name="connsiteX24" fmla="*/ 22932 w 31718"/>
                    <a:gd name="connsiteY24" fmla="*/ 64972 h 70325"/>
                    <a:gd name="connsiteX25" fmla="*/ 25455 w 31718"/>
                    <a:gd name="connsiteY25" fmla="*/ 67167 h 70325"/>
                    <a:gd name="connsiteX26" fmla="*/ 27635 w 31718"/>
                    <a:gd name="connsiteY26" fmla="*/ 64644 h 70325"/>
                    <a:gd name="connsiteX27" fmla="*/ 25935 w 31718"/>
                    <a:gd name="connsiteY27" fmla="*/ 39129 h 70325"/>
                    <a:gd name="connsiteX28" fmla="*/ 26335 w 31718"/>
                    <a:gd name="connsiteY28" fmla="*/ 37971 h 70325"/>
                    <a:gd name="connsiteX29" fmla="*/ 27894 w 31718"/>
                    <a:gd name="connsiteY29" fmla="*/ 34050 h 70325"/>
                    <a:gd name="connsiteX30" fmla="*/ 28547 w 31718"/>
                    <a:gd name="connsiteY30" fmla="*/ 9526 h 70325"/>
                    <a:gd name="connsiteX31" fmla="*/ 27042 w 31718"/>
                    <a:gd name="connsiteY31" fmla="*/ 5192 h 70325"/>
                    <a:gd name="connsiteX32" fmla="*/ 22487 w 31718"/>
                    <a:gd name="connsiteY32" fmla="*/ 3163 h 70325"/>
                    <a:gd name="connsiteX33" fmla="*/ 22165 w 31718"/>
                    <a:gd name="connsiteY33" fmla="*/ 3154 h 70325"/>
                    <a:gd name="connsiteX34" fmla="*/ 17121 w 31718"/>
                    <a:gd name="connsiteY34" fmla="*/ 5804 h 70325"/>
                    <a:gd name="connsiteX35" fmla="*/ 3259 w 31718"/>
                    <a:gd name="connsiteY35" fmla="*/ 26643 h 70325"/>
                    <a:gd name="connsiteX36" fmla="*/ 3733 w 31718"/>
                    <a:gd name="connsiteY36" fmla="*/ 28053 h 70325"/>
                    <a:gd name="connsiteX37" fmla="*/ 5149 w 31718"/>
                    <a:gd name="connsiteY37" fmla="*/ 27583 h 70325"/>
                    <a:gd name="connsiteX38" fmla="*/ 12995 w 31718"/>
                    <a:gd name="connsiteY38" fmla="*/ 14283 h 70325"/>
                    <a:gd name="connsiteX39" fmla="*/ 14282 w 31718"/>
                    <a:gd name="connsiteY39" fmla="*/ 13618 h 703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31718" h="70325">
                      <a:moveTo>
                        <a:pt x="25310" y="70325"/>
                      </a:moveTo>
                      <a:cubicBezTo>
                        <a:pt x="22408" y="70325"/>
                        <a:pt x="19960" y="68076"/>
                        <a:pt x="19783" y="65174"/>
                      </a:cubicBezTo>
                      <a:lnTo>
                        <a:pt x="18285" y="42710"/>
                      </a:lnTo>
                      <a:cubicBezTo>
                        <a:pt x="14553" y="41350"/>
                        <a:pt x="12045" y="37697"/>
                        <a:pt x="12187" y="33602"/>
                      </a:cubicBezTo>
                      <a:lnTo>
                        <a:pt x="12550" y="20741"/>
                      </a:lnTo>
                      <a:cubicBezTo>
                        <a:pt x="11061" y="23189"/>
                        <a:pt x="9531" y="25955"/>
                        <a:pt x="7969" y="29006"/>
                      </a:cubicBezTo>
                      <a:cubicBezTo>
                        <a:pt x="7471" y="30000"/>
                        <a:pt x="6606" y="30754"/>
                        <a:pt x="5540" y="31107"/>
                      </a:cubicBezTo>
                      <a:cubicBezTo>
                        <a:pt x="4480" y="31460"/>
                        <a:pt x="3335" y="31381"/>
                        <a:pt x="2326" y="30877"/>
                      </a:cubicBezTo>
                      <a:cubicBezTo>
                        <a:pt x="250" y="29839"/>
                        <a:pt x="-592" y="27306"/>
                        <a:pt x="442" y="25227"/>
                      </a:cubicBezTo>
                      <a:cubicBezTo>
                        <a:pt x="6184" y="13861"/>
                        <a:pt x="11373" y="7286"/>
                        <a:pt x="14717" y="3769"/>
                      </a:cubicBezTo>
                      <a:cubicBezTo>
                        <a:pt x="16566" y="1286"/>
                        <a:pt x="19484" y="-124"/>
                        <a:pt x="22597" y="9"/>
                      </a:cubicBezTo>
                      <a:cubicBezTo>
                        <a:pt x="25241" y="91"/>
                        <a:pt x="27648" y="1173"/>
                        <a:pt x="29373" y="3062"/>
                      </a:cubicBezTo>
                      <a:cubicBezTo>
                        <a:pt x="31023" y="4867"/>
                        <a:pt x="31850" y="7211"/>
                        <a:pt x="31702" y="9665"/>
                      </a:cubicBezTo>
                      <a:lnTo>
                        <a:pt x="31052" y="34094"/>
                      </a:lnTo>
                      <a:cubicBezTo>
                        <a:pt x="31052" y="36053"/>
                        <a:pt x="30389" y="37940"/>
                        <a:pt x="29127" y="39552"/>
                      </a:cubicBezTo>
                      <a:lnTo>
                        <a:pt x="30787" y="64448"/>
                      </a:lnTo>
                      <a:cubicBezTo>
                        <a:pt x="30966" y="67565"/>
                        <a:pt x="28705" y="70139"/>
                        <a:pt x="25638" y="70316"/>
                      </a:cubicBezTo>
                      <a:cubicBezTo>
                        <a:pt x="25528" y="70322"/>
                        <a:pt x="25421" y="70325"/>
                        <a:pt x="25310" y="70325"/>
                      </a:cubicBezTo>
                      <a:close/>
                      <a:moveTo>
                        <a:pt x="14285" y="13621"/>
                      </a:moveTo>
                      <a:cubicBezTo>
                        <a:pt x="14452" y="13621"/>
                        <a:pt x="14619" y="13649"/>
                        <a:pt x="14783" y="13700"/>
                      </a:cubicBezTo>
                      <a:cubicBezTo>
                        <a:pt x="15443" y="13920"/>
                        <a:pt x="15881" y="14548"/>
                        <a:pt x="15862" y="15242"/>
                      </a:cubicBezTo>
                      <a:lnTo>
                        <a:pt x="15338" y="33703"/>
                      </a:lnTo>
                      <a:cubicBezTo>
                        <a:pt x="15234" y="36697"/>
                        <a:pt x="17250" y="39331"/>
                        <a:pt x="20127" y="39968"/>
                      </a:cubicBezTo>
                      <a:cubicBezTo>
                        <a:pt x="20812" y="40120"/>
                        <a:pt x="21310" y="40703"/>
                        <a:pt x="21361" y="41404"/>
                      </a:cubicBezTo>
                      <a:lnTo>
                        <a:pt x="22932" y="64972"/>
                      </a:lnTo>
                      <a:cubicBezTo>
                        <a:pt x="23011" y="66262"/>
                        <a:pt x="24134" y="67243"/>
                        <a:pt x="25455" y="67167"/>
                      </a:cubicBezTo>
                      <a:cubicBezTo>
                        <a:pt x="26799" y="67089"/>
                        <a:pt x="27717" y="66029"/>
                        <a:pt x="27635" y="64644"/>
                      </a:cubicBezTo>
                      <a:lnTo>
                        <a:pt x="25935" y="39129"/>
                      </a:lnTo>
                      <a:cubicBezTo>
                        <a:pt x="25906" y="38703"/>
                        <a:pt x="26052" y="38284"/>
                        <a:pt x="26335" y="37971"/>
                      </a:cubicBezTo>
                      <a:cubicBezTo>
                        <a:pt x="27048" y="37180"/>
                        <a:pt x="27894" y="35858"/>
                        <a:pt x="27894" y="34050"/>
                      </a:cubicBezTo>
                      <a:lnTo>
                        <a:pt x="28547" y="9526"/>
                      </a:lnTo>
                      <a:cubicBezTo>
                        <a:pt x="28648" y="7883"/>
                        <a:pt x="28112" y="6362"/>
                        <a:pt x="27042" y="5192"/>
                      </a:cubicBezTo>
                      <a:cubicBezTo>
                        <a:pt x="25894" y="3936"/>
                        <a:pt x="24279" y="3217"/>
                        <a:pt x="22487" y="3163"/>
                      </a:cubicBezTo>
                      <a:cubicBezTo>
                        <a:pt x="22392" y="3163"/>
                        <a:pt x="22272" y="3154"/>
                        <a:pt x="22165" y="3154"/>
                      </a:cubicBezTo>
                      <a:cubicBezTo>
                        <a:pt x="20190" y="3154"/>
                        <a:pt x="18411" y="4088"/>
                        <a:pt x="17121" y="5804"/>
                      </a:cubicBezTo>
                      <a:cubicBezTo>
                        <a:pt x="13805" y="9305"/>
                        <a:pt x="8827" y="15627"/>
                        <a:pt x="3259" y="26643"/>
                      </a:cubicBezTo>
                      <a:cubicBezTo>
                        <a:pt x="2998" y="27167"/>
                        <a:pt x="3206" y="27788"/>
                        <a:pt x="3733" y="28053"/>
                      </a:cubicBezTo>
                      <a:cubicBezTo>
                        <a:pt x="4263" y="28318"/>
                        <a:pt x="4887" y="28110"/>
                        <a:pt x="5149" y="27583"/>
                      </a:cubicBezTo>
                      <a:cubicBezTo>
                        <a:pt x="7868" y="22271"/>
                        <a:pt x="10506" y="17801"/>
                        <a:pt x="12995" y="14283"/>
                      </a:cubicBezTo>
                      <a:cubicBezTo>
                        <a:pt x="13297" y="13857"/>
                        <a:pt x="13780" y="13618"/>
                        <a:pt x="14282" y="13618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" name="Freihandform: Form 45">
                  <a:extLst>
                    <a:ext uri="{FF2B5EF4-FFF2-40B4-BE49-F238E27FC236}">
                      <a16:creationId xmlns:a16="http://schemas.microsoft.com/office/drawing/2014/main" id="{93572031-C4E1-0F24-EC88-B69E4F7E359C}"/>
                    </a:ext>
                  </a:extLst>
                </p:cNvPr>
                <p:cNvSpPr/>
                <p:nvPr/>
              </p:nvSpPr>
              <p:spPr>
                <a:xfrm>
                  <a:off x="897907" y="5400720"/>
                  <a:ext cx="21629" cy="46748"/>
                </a:xfrm>
                <a:custGeom>
                  <a:avLst/>
                  <a:gdLst>
                    <a:gd name="connsiteX0" fmla="*/ 16240 w 21629"/>
                    <a:gd name="connsiteY0" fmla="*/ 46748 h 46748"/>
                    <a:gd name="connsiteX1" fmla="*/ 13354 w 21629"/>
                    <a:gd name="connsiteY1" fmla="*/ 43862 h 46748"/>
                    <a:gd name="connsiteX2" fmla="*/ 13480 w 21629"/>
                    <a:gd name="connsiteY2" fmla="*/ 43083 h 46748"/>
                    <a:gd name="connsiteX3" fmla="*/ 7612 w 21629"/>
                    <a:gd name="connsiteY3" fmla="*/ 43083 h 46748"/>
                    <a:gd name="connsiteX4" fmla="*/ 7738 w 21629"/>
                    <a:gd name="connsiteY4" fmla="*/ 43862 h 46748"/>
                    <a:gd name="connsiteX5" fmla="*/ 4852 w 21629"/>
                    <a:gd name="connsiteY5" fmla="*/ 46748 h 46748"/>
                    <a:gd name="connsiteX6" fmla="*/ 1965 w 21629"/>
                    <a:gd name="connsiteY6" fmla="*/ 43862 h 46748"/>
                    <a:gd name="connsiteX7" fmla="*/ 2205 w 21629"/>
                    <a:gd name="connsiteY7" fmla="*/ 42786 h 46748"/>
                    <a:gd name="connsiteX8" fmla="*/ 0 w 21629"/>
                    <a:gd name="connsiteY8" fmla="*/ 39411 h 46748"/>
                    <a:gd name="connsiteX9" fmla="*/ 0 w 21629"/>
                    <a:gd name="connsiteY9" fmla="*/ 16240 h 46748"/>
                    <a:gd name="connsiteX10" fmla="*/ 3404 w 21629"/>
                    <a:gd name="connsiteY10" fmla="*/ 12577 h 46748"/>
                    <a:gd name="connsiteX11" fmla="*/ 3404 w 21629"/>
                    <a:gd name="connsiteY11" fmla="*/ 1577 h 46748"/>
                    <a:gd name="connsiteX12" fmla="*/ 5767 w 21629"/>
                    <a:gd name="connsiteY12" fmla="*/ 142 h 46748"/>
                    <a:gd name="connsiteX13" fmla="*/ 9931 w 21629"/>
                    <a:gd name="connsiteY13" fmla="*/ 1328 h 46748"/>
                    <a:gd name="connsiteX14" fmla="*/ 10805 w 21629"/>
                    <a:gd name="connsiteY14" fmla="*/ 1770 h 46748"/>
                    <a:gd name="connsiteX15" fmla="*/ 11420 w 21629"/>
                    <a:gd name="connsiteY15" fmla="*/ 1391 h 46748"/>
                    <a:gd name="connsiteX16" fmla="*/ 12650 w 21629"/>
                    <a:gd name="connsiteY16" fmla="*/ 593 h 46748"/>
                    <a:gd name="connsiteX17" fmla="*/ 13880 w 21629"/>
                    <a:gd name="connsiteY17" fmla="*/ 0 h 46748"/>
                    <a:gd name="connsiteX18" fmla="*/ 17022 w 21629"/>
                    <a:gd name="connsiteY18" fmla="*/ 0 h 46748"/>
                    <a:gd name="connsiteX19" fmla="*/ 18600 w 21629"/>
                    <a:gd name="connsiteY19" fmla="*/ 1577 h 46748"/>
                    <a:gd name="connsiteX20" fmla="*/ 18600 w 21629"/>
                    <a:gd name="connsiteY20" fmla="*/ 12625 h 46748"/>
                    <a:gd name="connsiteX21" fmla="*/ 20814 w 21629"/>
                    <a:gd name="connsiteY21" fmla="*/ 13839 h 46748"/>
                    <a:gd name="connsiteX22" fmla="*/ 21606 w 21629"/>
                    <a:gd name="connsiteY22" fmla="*/ 16303 h 46748"/>
                    <a:gd name="connsiteX23" fmla="*/ 21619 w 21629"/>
                    <a:gd name="connsiteY23" fmla="*/ 39411 h 46748"/>
                    <a:gd name="connsiteX24" fmla="*/ 18956 w 21629"/>
                    <a:gd name="connsiteY24" fmla="*/ 42947 h 46748"/>
                    <a:gd name="connsiteX25" fmla="*/ 19130 w 21629"/>
                    <a:gd name="connsiteY25" fmla="*/ 43862 h 46748"/>
                    <a:gd name="connsiteX26" fmla="*/ 16243 w 21629"/>
                    <a:gd name="connsiteY26" fmla="*/ 46748 h 46748"/>
                    <a:gd name="connsiteX27" fmla="*/ 5505 w 21629"/>
                    <a:gd name="connsiteY27" fmla="*/ 39928 h 46748"/>
                    <a:gd name="connsiteX28" fmla="*/ 15584 w 21629"/>
                    <a:gd name="connsiteY28" fmla="*/ 39928 h 46748"/>
                    <a:gd name="connsiteX29" fmla="*/ 16240 w 21629"/>
                    <a:gd name="connsiteY29" fmla="*/ 40070 h 46748"/>
                    <a:gd name="connsiteX30" fmla="*/ 16896 w 21629"/>
                    <a:gd name="connsiteY30" fmla="*/ 39928 h 46748"/>
                    <a:gd name="connsiteX31" fmla="*/ 17944 w 21629"/>
                    <a:gd name="connsiteY31" fmla="*/ 39928 h 46748"/>
                    <a:gd name="connsiteX32" fmla="*/ 18461 w 21629"/>
                    <a:gd name="connsiteY32" fmla="*/ 39411 h 46748"/>
                    <a:gd name="connsiteX33" fmla="*/ 18461 w 21629"/>
                    <a:gd name="connsiteY33" fmla="*/ 16108 h 46748"/>
                    <a:gd name="connsiteX34" fmla="*/ 17944 w 21629"/>
                    <a:gd name="connsiteY34" fmla="*/ 15723 h 46748"/>
                    <a:gd name="connsiteX35" fmla="*/ 17019 w 21629"/>
                    <a:gd name="connsiteY35" fmla="*/ 15723 h 46748"/>
                    <a:gd name="connsiteX36" fmla="*/ 16363 w 21629"/>
                    <a:gd name="connsiteY36" fmla="*/ 15581 h 46748"/>
                    <a:gd name="connsiteX37" fmla="*/ 15707 w 21629"/>
                    <a:gd name="connsiteY37" fmla="*/ 15723 h 46748"/>
                    <a:gd name="connsiteX38" fmla="*/ 6281 w 21629"/>
                    <a:gd name="connsiteY38" fmla="*/ 15723 h 46748"/>
                    <a:gd name="connsiteX39" fmla="*/ 5628 w 21629"/>
                    <a:gd name="connsiteY39" fmla="*/ 15581 h 46748"/>
                    <a:gd name="connsiteX40" fmla="*/ 4975 w 21629"/>
                    <a:gd name="connsiteY40" fmla="*/ 15723 h 46748"/>
                    <a:gd name="connsiteX41" fmla="*/ 3666 w 21629"/>
                    <a:gd name="connsiteY41" fmla="*/ 15723 h 46748"/>
                    <a:gd name="connsiteX42" fmla="*/ 3148 w 21629"/>
                    <a:gd name="connsiteY42" fmla="*/ 16240 h 46748"/>
                    <a:gd name="connsiteX43" fmla="*/ 3148 w 21629"/>
                    <a:gd name="connsiteY43" fmla="*/ 39411 h 46748"/>
                    <a:gd name="connsiteX44" fmla="*/ 3666 w 21629"/>
                    <a:gd name="connsiteY44" fmla="*/ 39928 h 46748"/>
                    <a:gd name="connsiteX45" fmla="*/ 4189 w 21629"/>
                    <a:gd name="connsiteY45" fmla="*/ 39928 h 46748"/>
                    <a:gd name="connsiteX46" fmla="*/ 4846 w 21629"/>
                    <a:gd name="connsiteY46" fmla="*/ 40070 h 46748"/>
                    <a:gd name="connsiteX47" fmla="*/ 5502 w 21629"/>
                    <a:gd name="connsiteY47" fmla="*/ 39928 h 46748"/>
                    <a:gd name="connsiteX48" fmla="*/ 7861 w 21629"/>
                    <a:gd name="connsiteY48" fmla="*/ 12568 h 46748"/>
                    <a:gd name="connsiteX49" fmla="*/ 14133 w 21629"/>
                    <a:gd name="connsiteY49" fmla="*/ 12568 h 46748"/>
                    <a:gd name="connsiteX50" fmla="*/ 14133 w 21629"/>
                    <a:gd name="connsiteY50" fmla="*/ 4464 h 46748"/>
                    <a:gd name="connsiteX51" fmla="*/ 11915 w 21629"/>
                    <a:gd name="connsiteY51" fmla="*/ 4464 h 46748"/>
                    <a:gd name="connsiteX52" fmla="*/ 10801 w 21629"/>
                    <a:gd name="connsiteY52" fmla="*/ 4003 h 46748"/>
                    <a:gd name="connsiteX53" fmla="*/ 9688 w 21629"/>
                    <a:gd name="connsiteY53" fmla="*/ 4464 h 46748"/>
                    <a:gd name="connsiteX54" fmla="*/ 7861 w 21629"/>
                    <a:gd name="connsiteY54" fmla="*/ 4464 h 46748"/>
                    <a:gd name="connsiteX55" fmla="*/ 7861 w 21629"/>
                    <a:gd name="connsiteY55" fmla="*/ 12568 h 467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</a:cxnLst>
                  <a:rect l="l" t="t" r="r" b="b"/>
                  <a:pathLst>
                    <a:path w="21629" h="46748">
                      <a:moveTo>
                        <a:pt x="16240" y="46748"/>
                      </a:moveTo>
                      <a:cubicBezTo>
                        <a:pt x="14704" y="46748"/>
                        <a:pt x="13354" y="45398"/>
                        <a:pt x="13354" y="43862"/>
                      </a:cubicBezTo>
                      <a:cubicBezTo>
                        <a:pt x="13354" y="43597"/>
                        <a:pt x="13398" y="43335"/>
                        <a:pt x="13480" y="43083"/>
                      </a:cubicBezTo>
                      <a:lnTo>
                        <a:pt x="7612" y="43083"/>
                      </a:lnTo>
                      <a:cubicBezTo>
                        <a:pt x="7694" y="43335"/>
                        <a:pt x="7738" y="43597"/>
                        <a:pt x="7738" y="43862"/>
                      </a:cubicBezTo>
                      <a:cubicBezTo>
                        <a:pt x="7738" y="45505"/>
                        <a:pt x="6495" y="46748"/>
                        <a:pt x="4852" y="46748"/>
                      </a:cubicBezTo>
                      <a:cubicBezTo>
                        <a:pt x="3316" y="46748"/>
                        <a:pt x="1965" y="45398"/>
                        <a:pt x="1965" y="43862"/>
                      </a:cubicBezTo>
                      <a:cubicBezTo>
                        <a:pt x="1965" y="43493"/>
                        <a:pt x="2047" y="43130"/>
                        <a:pt x="2205" y="42786"/>
                      </a:cubicBezTo>
                      <a:cubicBezTo>
                        <a:pt x="896" y="42231"/>
                        <a:pt x="0" y="40944"/>
                        <a:pt x="0" y="39411"/>
                      </a:cubicBezTo>
                      <a:lnTo>
                        <a:pt x="0" y="16240"/>
                      </a:lnTo>
                      <a:cubicBezTo>
                        <a:pt x="0" y="14272"/>
                        <a:pt x="1473" y="12710"/>
                        <a:pt x="3404" y="12577"/>
                      </a:cubicBezTo>
                      <a:lnTo>
                        <a:pt x="3404" y="1577"/>
                      </a:lnTo>
                      <a:cubicBezTo>
                        <a:pt x="3404" y="476"/>
                        <a:pt x="4770" y="-303"/>
                        <a:pt x="5767" y="142"/>
                      </a:cubicBezTo>
                      <a:cubicBezTo>
                        <a:pt x="7013" y="710"/>
                        <a:pt x="8297" y="1076"/>
                        <a:pt x="9931" y="1328"/>
                      </a:cubicBezTo>
                      <a:cubicBezTo>
                        <a:pt x="10271" y="1382"/>
                        <a:pt x="10574" y="1539"/>
                        <a:pt x="10805" y="1770"/>
                      </a:cubicBezTo>
                      <a:cubicBezTo>
                        <a:pt x="10972" y="1603"/>
                        <a:pt x="11180" y="1470"/>
                        <a:pt x="11420" y="1391"/>
                      </a:cubicBezTo>
                      <a:cubicBezTo>
                        <a:pt x="11975" y="1205"/>
                        <a:pt x="12357" y="959"/>
                        <a:pt x="12650" y="593"/>
                      </a:cubicBezTo>
                      <a:cubicBezTo>
                        <a:pt x="12950" y="221"/>
                        <a:pt x="13401" y="0"/>
                        <a:pt x="13880" y="0"/>
                      </a:cubicBezTo>
                      <a:lnTo>
                        <a:pt x="17022" y="0"/>
                      </a:lnTo>
                      <a:cubicBezTo>
                        <a:pt x="17893" y="0"/>
                        <a:pt x="18600" y="707"/>
                        <a:pt x="18600" y="1577"/>
                      </a:cubicBezTo>
                      <a:lnTo>
                        <a:pt x="18600" y="12625"/>
                      </a:lnTo>
                      <a:cubicBezTo>
                        <a:pt x="19455" y="12773"/>
                        <a:pt x="20250" y="13205"/>
                        <a:pt x="20814" y="13839"/>
                      </a:cubicBezTo>
                      <a:cubicBezTo>
                        <a:pt x="21436" y="14543"/>
                        <a:pt x="21716" y="15417"/>
                        <a:pt x="21606" y="16303"/>
                      </a:cubicBezTo>
                      <a:lnTo>
                        <a:pt x="21619" y="39411"/>
                      </a:lnTo>
                      <a:cubicBezTo>
                        <a:pt x="21619" y="41117"/>
                        <a:pt x="20508" y="42518"/>
                        <a:pt x="18956" y="42947"/>
                      </a:cubicBezTo>
                      <a:cubicBezTo>
                        <a:pt x="19070" y="43240"/>
                        <a:pt x="19130" y="43550"/>
                        <a:pt x="19130" y="43862"/>
                      </a:cubicBezTo>
                      <a:cubicBezTo>
                        <a:pt x="19130" y="45505"/>
                        <a:pt x="17887" y="46748"/>
                        <a:pt x="16243" y="46748"/>
                      </a:cubicBezTo>
                      <a:close/>
                      <a:moveTo>
                        <a:pt x="5505" y="39928"/>
                      </a:moveTo>
                      <a:lnTo>
                        <a:pt x="15584" y="39928"/>
                      </a:lnTo>
                      <a:cubicBezTo>
                        <a:pt x="15817" y="39928"/>
                        <a:pt x="16041" y="39982"/>
                        <a:pt x="16240" y="40070"/>
                      </a:cubicBezTo>
                      <a:cubicBezTo>
                        <a:pt x="16439" y="39982"/>
                        <a:pt x="16663" y="39928"/>
                        <a:pt x="16896" y="39928"/>
                      </a:cubicBezTo>
                      <a:lnTo>
                        <a:pt x="17944" y="39928"/>
                      </a:lnTo>
                      <a:cubicBezTo>
                        <a:pt x="18253" y="39928"/>
                        <a:pt x="18461" y="39720"/>
                        <a:pt x="18461" y="39411"/>
                      </a:cubicBezTo>
                      <a:lnTo>
                        <a:pt x="18461" y="16108"/>
                      </a:lnTo>
                      <a:cubicBezTo>
                        <a:pt x="18451" y="15906"/>
                        <a:pt x="18243" y="15723"/>
                        <a:pt x="17944" y="15723"/>
                      </a:cubicBezTo>
                      <a:lnTo>
                        <a:pt x="17019" y="15723"/>
                      </a:lnTo>
                      <a:cubicBezTo>
                        <a:pt x="16786" y="15723"/>
                        <a:pt x="16562" y="15672"/>
                        <a:pt x="16363" y="15581"/>
                      </a:cubicBezTo>
                      <a:cubicBezTo>
                        <a:pt x="16164" y="15672"/>
                        <a:pt x="15943" y="15723"/>
                        <a:pt x="15707" y="15723"/>
                      </a:cubicBezTo>
                      <a:lnTo>
                        <a:pt x="6281" y="15723"/>
                      </a:lnTo>
                      <a:cubicBezTo>
                        <a:pt x="6047" y="15723"/>
                        <a:pt x="5827" y="15672"/>
                        <a:pt x="5628" y="15581"/>
                      </a:cubicBezTo>
                      <a:cubicBezTo>
                        <a:pt x="5429" y="15672"/>
                        <a:pt x="5208" y="15723"/>
                        <a:pt x="4975" y="15723"/>
                      </a:cubicBezTo>
                      <a:lnTo>
                        <a:pt x="3666" y="15723"/>
                      </a:lnTo>
                      <a:cubicBezTo>
                        <a:pt x="3357" y="15723"/>
                        <a:pt x="3148" y="15931"/>
                        <a:pt x="3148" y="16240"/>
                      </a:cubicBezTo>
                      <a:lnTo>
                        <a:pt x="3148" y="39411"/>
                      </a:lnTo>
                      <a:cubicBezTo>
                        <a:pt x="3148" y="39720"/>
                        <a:pt x="3357" y="39928"/>
                        <a:pt x="3666" y="39928"/>
                      </a:cubicBezTo>
                      <a:lnTo>
                        <a:pt x="4189" y="39928"/>
                      </a:lnTo>
                      <a:cubicBezTo>
                        <a:pt x="4423" y="39928"/>
                        <a:pt x="4647" y="39982"/>
                        <a:pt x="4846" y="40070"/>
                      </a:cubicBezTo>
                      <a:cubicBezTo>
                        <a:pt x="5044" y="39982"/>
                        <a:pt x="5268" y="39928"/>
                        <a:pt x="5502" y="39928"/>
                      </a:cubicBezTo>
                      <a:close/>
                      <a:moveTo>
                        <a:pt x="7861" y="12568"/>
                      </a:moveTo>
                      <a:lnTo>
                        <a:pt x="14133" y="12568"/>
                      </a:lnTo>
                      <a:lnTo>
                        <a:pt x="14133" y="4464"/>
                      </a:lnTo>
                      <a:lnTo>
                        <a:pt x="11915" y="4464"/>
                      </a:lnTo>
                      <a:cubicBezTo>
                        <a:pt x="11483" y="4464"/>
                        <a:pt x="11089" y="4287"/>
                        <a:pt x="10801" y="4003"/>
                      </a:cubicBezTo>
                      <a:cubicBezTo>
                        <a:pt x="10514" y="4287"/>
                        <a:pt x="10120" y="4464"/>
                        <a:pt x="9688" y="4464"/>
                      </a:cubicBezTo>
                      <a:lnTo>
                        <a:pt x="7861" y="4464"/>
                      </a:lnTo>
                      <a:lnTo>
                        <a:pt x="7861" y="1256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7" name="Freihandform: Form 46">
                  <a:extLst>
                    <a:ext uri="{FF2B5EF4-FFF2-40B4-BE49-F238E27FC236}">
                      <a16:creationId xmlns:a16="http://schemas.microsoft.com/office/drawing/2014/main" id="{636DE6B7-6969-7236-741D-B215944A5388}"/>
                    </a:ext>
                  </a:extLst>
                </p:cNvPr>
                <p:cNvSpPr/>
                <p:nvPr/>
              </p:nvSpPr>
              <p:spPr>
                <a:xfrm>
                  <a:off x="1070703" y="5179003"/>
                  <a:ext cx="14393" cy="18820"/>
                </a:xfrm>
                <a:custGeom>
                  <a:avLst/>
                  <a:gdLst>
                    <a:gd name="connsiteX0" fmla="*/ 6983 w 14393"/>
                    <a:gd name="connsiteY0" fmla="*/ 18821 h 18820"/>
                    <a:gd name="connsiteX1" fmla="*/ 5831 w 14393"/>
                    <a:gd name="connsiteY1" fmla="*/ 18656 h 18820"/>
                    <a:gd name="connsiteX2" fmla="*/ 3093 w 14393"/>
                    <a:gd name="connsiteY2" fmla="*/ 15827 h 18820"/>
                    <a:gd name="connsiteX3" fmla="*/ 213 w 14393"/>
                    <a:gd name="connsiteY3" fmla="*/ 5174 h 18820"/>
                    <a:gd name="connsiteX4" fmla="*/ 491 w 14393"/>
                    <a:gd name="connsiteY4" fmla="*/ 2013 h 18820"/>
                    <a:gd name="connsiteX5" fmla="*/ 3046 w 14393"/>
                    <a:gd name="connsiteY5" fmla="*/ 136 h 18820"/>
                    <a:gd name="connsiteX6" fmla="*/ 6077 w 14393"/>
                    <a:gd name="connsiteY6" fmla="*/ 524 h 18820"/>
                    <a:gd name="connsiteX7" fmla="*/ 8030 w 14393"/>
                    <a:gd name="connsiteY7" fmla="*/ 3032 h 18820"/>
                    <a:gd name="connsiteX8" fmla="*/ 9112 w 14393"/>
                    <a:gd name="connsiteY8" fmla="*/ 7041 h 18820"/>
                    <a:gd name="connsiteX9" fmla="*/ 11731 w 14393"/>
                    <a:gd name="connsiteY9" fmla="*/ 4568 h 18820"/>
                    <a:gd name="connsiteX10" fmla="*/ 13440 w 14393"/>
                    <a:gd name="connsiteY10" fmla="*/ 4265 h 18820"/>
                    <a:gd name="connsiteX11" fmla="*/ 14393 w 14393"/>
                    <a:gd name="connsiteY11" fmla="*/ 5713 h 18820"/>
                    <a:gd name="connsiteX12" fmla="*/ 14393 w 14393"/>
                    <a:gd name="connsiteY12" fmla="*/ 12647 h 18820"/>
                    <a:gd name="connsiteX13" fmla="*/ 13914 w 14393"/>
                    <a:gd name="connsiteY13" fmla="*/ 13779 h 18820"/>
                    <a:gd name="connsiteX14" fmla="*/ 9879 w 14393"/>
                    <a:gd name="connsiteY14" fmla="*/ 17688 h 18820"/>
                    <a:gd name="connsiteX15" fmla="*/ 6989 w 14393"/>
                    <a:gd name="connsiteY15" fmla="*/ 18821 h 18820"/>
                    <a:gd name="connsiteX16" fmla="*/ 4071 w 14393"/>
                    <a:gd name="connsiteY16" fmla="*/ 3158 h 18820"/>
                    <a:gd name="connsiteX17" fmla="*/ 3768 w 14393"/>
                    <a:gd name="connsiteY17" fmla="*/ 3199 h 18820"/>
                    <a:gd name="connsiteX18" fmla="*/ 3238 w 14393"/>
                    <a:gd name="connsiteY18" fmla="*/ 3552 h 18820"/>
                    <a:gd name="connsiteX19" fmla="*/ 3194 w 14393"/>
                    <a:gd name="connsiteY19" fmla="*/ 4164 h 18820"/>
                    <a:gd name="connsiteX20" fmla="*/ 3238 w 14393"/>
                    <a:gd name="connsiteY20" fmla="*/ 4287 h 18820"/>
                    <a:gd name="connsiteX21" fmla="*/ 6137 w 14393"/>
                    <a:gd name="connsiteY21" fmla="*/ 15003 h 18820"/>
                    <a:gd name="connsiteX22" fmla="*/ 6724 w 14393"/>
                    <a:gd name="connsiteY22" fmla="*/ 15625 h 18820"/>
                    <a:gd name="connsiteX23" fmla="*/ 7715 w 14393"/>
                    <a:gd name="connsiteY23" fmla="*/ 15382 h 18820"/>
                    <a:gd name="connsiteX24" fmla="*/ 11232 w 14393"/>
                    <a:gd name="connsiteY24" fmla="*/ 11972 h 18820"/>
                    <a:gd name="connsiteX25" fmla="*/ 11232 w 14393"/>
                    <a:gd name="connsiteY25" fmla="*/ 9366 h 18820"/>
                    <a:gd name="connsiteX26" fmla="*/ 9355 w 14393"/>
                    <a:gd name="connsiteY26" fmla="*/ 11139 h 18820"/>
                    <a:gd name="connsiteX27" fmla="*/ 7844 w 14393"/>
                    <a:gd name="connsiteY27" fmla="*/ 11511 h 18820"/>
                    <a:gd name="connsiteX28" fmla="*/ 6749 w 14393"/>
                    <a:gd name="connsiteY28" fmla="*/ 10404 h 18820"/>
                    <a:gd name="connsiteX29" fmla="*/ 4980 w 14393"/>
                    <a:gd name="connsiteY29" fmla="*/ 3849 h 18820"/>
                    <a:gd name="connsiteX30" fmla="*/ 4538 w 14393"/>
                    <a:gd name="connsiteY30" fmla="*/ 3271 h 18820"/>
                    <a:gd name="connsiteX31" fmla="*/ 4068 w 14393"/>
                    <a:gd name="connsiteY31" fmla="*/ 3151 h 188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14393" h="18820">
                      <a:moveTo>
                        <a:pt x="6983" y="18821"/>
                      </a:moveTo>
                      <a:cubicBezTo>
                        <a:pt x="6595" y="18821"/>
                        <a:pt x="6210" y="18764"/>
                        <a:pt x="5831" y="18656"/>
                      </a:cubicBezTo>
                      <a:cubicBezTo>
                        <a:pt x="4484" y="18259"/>
                        <a:pt x="3462" y="17202"/>
                        <a:pt x="3093" y="15827"/>
                      </a:cubicBezTo>
                      <a:lnTo>
                        <a:pt x="213" y="5174"/>
                      </a:lnTo>
                      <a:cubicBezTo>
                        <a:pt x="-147" y="4123"/>
                        <a:pt x="-49" y="2975"/>
                        <a:pt x="491" y="2013"/>
                      </a:cubicBezTo>
                      <a:cubicBezTo>
                        <a:pt x="1040" y="1035"/>
                        <a:pt x="1973" y="350"/>
                        <a:pt x="3046" y="136"/>
                      </a:cubicBezTo>
                      <a:cubicBezTo>
                        <a:pt x="4011" y="-132"/>
                        <a:pt x="5128" y="-3"/>
                        <a:pt x="6077" y="524"/>
                      </a:cubicBezTo>
                      <a:cubicBezTo>
                        <a:pt x="7043" y="1060"/>
                        <a:pt x="7734" y="1950"/>
                        <a:pt x="8030" y="3032"/>
                      </a:cubicBezTo>
                      <a:lnTo>
                        <a:pt x="9112" y="7041"/>
                      </a:lnTo>
                      <a:lnTo>
                        <a:pt x="11731" y="4568"/>
                      </a:lnTo>
                      <a:cubicBezTo>
                        <a:pt x="12191" y="4136"/>
                        <a:pt x="12854" y="4016"/>
                        <a:pt x="13440" y="4265"/>
                      </a:cubicBezTo>
                      <a:cubicBezTo>
                        <a:pt x="14018" y="4514"/>
                        <a:pt x="14393" y="5082"/>
                        <a:pt x="14393" y="5713"/>
                      </a:cubicBezTo>
                      <a:lnTo>
                        <a:pt x="14393" y="12647"/>
                      </a:lnTo>
                      <a:cubicBezTo>
                        <a:pt x="14393" y="13073"/>
                        <a:pt x="14220" y="13483"/>
                        <a:pt x="13914" y="13779"/>
                      </a:cubicBezTo>
                      <a:lnTo>
                        <a:pt x="9879" y="17688"/>
                      </a:lnTo>
                      <a:cubicBezTo>
                        <a:pt x="9062" y="18429"/>
                        <a:pt x="8027" y="18821"/>
                        <a:pt x="6989" y="18821"/>
                      </a:cubicBezTo>
                      <a:close/>
                      <a:moveTo>
                        <a:pt x="4071" y="3158"/>
                      </a:moveTo>
                      <a:cubicBezTo>
                        <a:pt x="3973" y="3158"/>
                        <a:pt x="3872" y="3170"/>
                        <a:pt x="3768" y="3199"/>
                      </a:cubicBezTo>
                      <a:cubicBezTo>
                        <a:pt x="3494" y="3259"/>
                        <a:pt x="3336" y="3379"/>
                        <a:pt x="3238" y="3552"/>
                      </a:cubicBezTo>
                      <a:cubicBezTo>
                        <a:pt x="3166" y="3685"/>
                        <a:pt x="3100" y="3896"/>
                        <a:pt x="3194" y="4164"/>
                      </a:cubicBezTo>
                      <a:cubicBezTo>
                        <a:pt x="3210" y="4205"/>
                        <a:pt x="3229" y="4243"/>
                        <a:pt x="3238" y="4287"/>
                      </a:cubicBezTo>
                      <a:lnTo>
                        <a:pt x="6137" y="15003"/>
                      </a:lnTo>
                      <a:cubicBezTo>
                        <a:pt x="6245" y="15407"/>
                        <a:pt x="6516" y="15565"/>
                        <a:pt x="6724" y="15625"/>
                      </a:cubicBezTo>
                      <a:cubicBezTo>
                        <a:pt x="7059" y="15726"/>
                        <a:pt x="7440" y="15631"/>
                        <a:pt x="7715" y="15382"/>
                      </a:cubicBezTo>
                      <a:lnTo>
                        <a:pt x="11232" y="11972"/>
                      </a:lnTo>
                      <a:lnTo>
                        <a:pt x="11232" y="9366"/>
                      </a:lnTo>
                      <a:lnTo>
                        <a:pt x="9355" y="11139"/>
                      </a:lnTo>
                      <a:cubicBezTo>
                        <a:pt x="8948" y="11521"/>
                        <a:pt x="8380" y="11660"/>
                        <a:pt x="7844" y="11511"/>
                      </a:cubicBezTo>
                      <a:cubicBezTo>
                        <a:pt x="7311" y="11363"/>
                        <a:pt x="6895" y="10940"/>
                        <a:pt x="6749" y="10404"/>
                      </a:cubicBezTo>
                      <a:lnTo>
                        <a:pt x="4980" y="3849"/>
                      </a:lnTo>
                      <a:cubicBezTo>
                        <a:pt x="4891" y="3527"/>
                        <a:pt x="4689" y="3357"/>
                        <a:pt x="4538" y="3271"/>
                      </a:cubicBezTo>
                      <a:cubicBezTo>
                        <a:pt x="4396" y="3192"/>
                        <a:pt x="4232" y="3151"/>
                        <a:pt x="4068" y="3151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" name="Freihandform: Form 47">
                  <a:extLst>
                    <a:ext uri="{FF2B5EF4-FFF2-40B4-BE49-F238E27FC236}">
                      <a16:creationId xmlns:a16="http://schemas.microsoft.com/office/drawing/2014/main" id="{9FCBC1D6-504E-D17C-ED59-32D9DC6F876D}"/>
                    </a:ext>
                  </a:extLst>
                </p:cNvPr>
                <p:cNvSpPr/>
                <p:nvPr/>
              </p:nvSpPr>
              <p:spPr>
                <a:xfrm>
                  <a:off x="1113964" y="5212125"/>
                  <a:ext cx="28462" cy="35034"/>
                </a:xfrm>
                <a:custGeom>
                  <a:avLst/>
                  <a:gdLst>
                    <a:gd name="connsiteX0" fmla="*/ 18676 w 28462"/>
                    <a:gd name="connsiteY0" fmla="*/ 35034 h 35034"/>
                    <a:gd name="connsiteX1" fmla="*/ 17622 w 28462"/>
                    <a:gd name="connsiteY1" fmla="*/ 34801 h 35034"/>
                    <a:gd name="connsiteX2" fmla="*/ 17095 w 28462"/>
                    <a:gd name="connsiteY2" fmla="*/ 34473 h 35034"/>
                    <a:gd name="connsiteX3" fmla="*/ 14723 w 28462"/>
                    <a:gd name="connsiteY3" fmla="*/ 34460 h 35034"/>
                    <a:gd name="connsiteX4" fmla="*/ 13064 w 28462"/>
                    <a:gd name="connsiteY4" fmla="*/ 32712 h 35034"/>
                    <a:gd name="connsiteX5" fmla="*/ 4294 w 28462"/>
                    <a:gd name="connsiteY5" fmla="*/ 12936 h 35034"/>
                    <a:gd name="connsiteX6" fmla="*/ 4038 w 28462"/>
                    <a:gd name="connsiteY6" fmla="*/ 11759 h 35034"/>
                    <a:gd name="connsiteX7" fmla="*/ 136 w 28462"/>
                    <a:gd name="connsiteY7" fmla="*/ 2980 h 35034"/>
                    <a:gd name="connsiteX8" fmla="*/ 464 w 28462"/>
                    <a:gd name="connsiteY8" fmla="*/ 1223 h 35034"/>
                    <a:gd name="connsiteX9" fmla="*/ 1029 w 28462"/>
                    <a:gd name="connsiteY9" fmla="*/ 734 h 35034"/>
                    <a:gd name="connsiteX10" fmla="*/ 1341 w 28462"/>
                    <a:gd name="connsiteY10" fmla="*/ 472 h 35034"/>
                    <a:gd name="connsiteX11" fmla="*/ 1962 w 28462"/>
                    <a:gd name="connsiteY11" fmla="*/ 84 h 35034"/>
                    <a:gd name="connsiteX12" fmla="*/ 1972 w 28462"/>
                    <a:gd name="connsiteY12" fmla="*/ 84 h 35034"/>
                    <a:gd name="connsiteX13" fmla="*/ 3909 w 28462"/>
                    <a:gd name="connsiteY13" fmla="*/ 933 h 35034"/>
                    <a:gd name="connsiteX14" fmla="*/ 7152 w 28462"/>
                    <a:gd name="connsiteY14" fmla="*/ 8160 h 35034"/>
                    <a:gd name="connsiteX15" fmla="*/ 7218 w 28462"/>
                    <a:gd name="connsiteY15" fmla="*/ 8128 h 35034"/>
                    <a:gd name="connsiteX16" fmla="*/ 6947 w 28462"/>
                    <a:gd name="connsiteY16" fmla="*/ 7507 h 35034"/>
                    <a:gd name="connsiteX17" fmla="*/ 7757 w 28462"/>
                    <a:gd name="connsiteY17" fmla="*/ 5431 h 35034"/>
                    <a:gd name="connsiteX18" fmla="*/ 10909 w 28462"/>
                    <a:gd name="connsiteY18" fmla="*/ 4043 h 35034"/>
                    <a:gd name="connsiteX19" fmla="*/ 12133 w 28462"/>
                    <a:gd name="connsiteY19" fmla="*/ 4024 h 35034"/>
                    <a:gd name="connsiteX20" fmla="*/ 13000 w 28462"/>
                    <a:gd name="connsiteY20" fmla="*/ 4885 h 35034"/>
                    <a:gd name="connsiteX21" fmla="*/ 13259 w 28462"/>
                    <a:gd name="connsiteY21" fmla="*/ 5510 h 35034"/>
                    <a:gd name="connsiteX22" fmla="*/ 14792 w 28462"/>
                    <a:gd name="connsiteY22" fmla="*/ 4806 h 35034"/>
                    <a:gd name="connsiteX23" fmla="*/ 17300 w 28462"/>
                    <a:gd name="connsiteY23" fmla="*/ 4756 h 35034"/>
                    <a:gd name="connsiteX24" fmla="*/ 18802 w 28462"/>
                    <a:gd name="connsiteY24" fmla="*/ 6116 h 35034"/>
                    <a:gd name="connsiteX25" fmla="*/ 19619 w 28462"/>
                    <a:gd name="connsiteY25" fmla="*/ 6362 h 35034"/>
                    <a:gd name="connsiteX26" fmla="*/ 21108 w 28462"/>
                    <a:gd name="connsiteY26" fmla="*/ 8015 h 35034"/>
                    <a:gd name="connsiteX27" fmla="*/ 28240 w 28462"/>
                    <a:gd name="connsiteY27" fmla="*/ 24005 h 35034"/>
                    <a:gd name="connsiteX28" fmla="*/ 28039 w 28462"/>
                    <a:gd name="connsiteY28" fmla="*/ 26747 h 35034"/>
                    <a:gd name="connsiteX29" fmla="*/ 27991 w 28462"/>
                    <a:gd name="connsiteY29" fmla="*/ 28488 h 35034"/>
                    <a:gd name="connsiteX30" fmla="*/ 26367 w 28462"/>
                    <a:gd name="connsiteY30" fmla="*/ 30346 h 35034"/>
                    <a:gd name="connsiteX31" fmla="*/ 26332 w 28462"/>
                    <a:gd name="connsiteY31" fmla="*/ 30359 h 35034"/>
                    <a:gd name="connsiteX32" fmla="*/ 26098 w 28462"/>
                    <a:gd name="connsiteY32" fmla="*/ 31290 h 35034"/>
                    <a:gd name="connsiteX33" fmla="*/ 24704 w 28462"/>
                    <a:gd name="connsiteY33" fmla="*/ 32555 h 35034"/>
                    <a:gd name="connsiteX34" fmla="*/ 22676 w 28462"/>
                    <a:gd name="connsiteY34" fmla="*/ 32523 h 35034"/>
                    <a:gd name="connsiteX35" fmla="*/ 22199 w 28462"/>
                    <a:gd name="connsiteY35" fmla="*/ 32236 h 35034"/>
                    <a:gd name="connsiteX36" fmla="*/ 21291 w 28462"/>
                    <a:gd name="connsiteY36" fmla="*/ 32633 h 35034"/>
                    <a:gd name="connsiteX37" fmla="*/ 21057 w 28462"/>
                    <a:gd name="connsiteY37" fmla="*/ 33558 h 35034"/>
                    <a:gd name="connsiteX38" fmla="*/ 19660 w 28462"/>
                    <a:gd name="connsiteY38" fmla="*/ 34826 h 35034"/>
                    <a:gd name="connsiteX39" fmla="*/ 18682 w 28462"/>
                    <a:gd name="connsiteY39" fmla="*/ 35025 h 35034"/>
                    <a:gd name="connsiteX40" fmla="*/ 18143 w 28462"/>
                    <a:gd name="connsiteY40" fmla="*/ 32659 h 35034"/>
                    <a:gd name="connsiteX41" fmla="*/ 18193 w 28462"/>
                    <a:gd name="connsiteY41" fmla="*/ 32801 h 35034"/>
                    <a:gd name="connsiteX42" fmla="*/ 18143 w 28462"/>
                    <a:gd name="connsiteY42" fmla="*/ 32659 h 35034"/>
                    <a:gd name="connsiteX43" fmla="*/ 19313 w 28462"/>
                    <a:gd name="connsiteY43" fmla="*/ 32296 h 35034"/>
                    <a:gd name="connsiteX44" fmla="*/ 19332 w 28462"/>
                    <a:gd name="connsiteY44" fmla="*/ 32353 h 35034"/>
                    <a:gd name="connsiteX45" fmla="*/ 19313 w 28462"/>
                    <a:gd name="connsiteY45" fmla="*/ 32296 h 35034"/>
                    <a:gd name="connsiteX46" fmla="*/ 7187 w 28462"/>
                    <a:gd name="connsiteY46" fmla="*/ 11643 h 35034"/>
                    <a:gd name="connsiteX47" fmla="*/ 7199 w 28462"/>
                    <a:gd name="connsiteY47" fmla="*/ 11734 h 35034"/>
                    <a:gd name="connsiteX48" fmla="*/ 16004 w 28462"/>
                    <a:gd name="connsiteY48" fmla="*/ 31583 h 35034"/>
                    <a:gd name="connsiteX49" fmla="*/ 17070 w 28462"/>
                    <a:gd name="connsiteY49" fmla="*/ 31034 h 35034"/>
                    <a:gd name="connsiteX50" fmla="*/ 18102 w 28462"/>
                    <a:gd name="connsiteY50" fmla="*/ 30946 h 35034"/>
                    <a:gd name="connsiteX51" fmla="*/ 18843 w 28462"/>
                    <a:gd name="connsiteY51" fmla="*/ 30274 h 35034"/>
                    <a:gd name="connsiteX52" fmla="*/ 21994 w 28462"/>
                    <a:gd name="connsiteY52" fmla="*/ 28886 h 35034"/>
                    <a:gd name="connsiteX53" fmla="*/ 23073 w 28462"/>
                    <a:gd name="connsiteY53" fmla="*/ 28816 h 35034"/>
                    <a:gd name="connsiteX54" fmla="*/ 23884 w 28462"/>
                    <a:gd name="connsiteY54" fmla="*/ 28002 h 35034"/>
                    <a:gd name="connsiteX55" fmla="*/ 25020 w 28462"/>
                    <a:gd name="connsiteY55" fmla="*/ 27498 h 35034"/>
                    <a:gd name="connsiteX56" fmla="*/ 24751 w 28462"/>
                    <a:gd name="connsiteY56" fmla="*/ 27122 h 35034"/>
                    <a:gd name="connsiteX57" fmla="*/ 24685 w 28462"/>
                    <a:gd name="connsiteY57" fmla="*/ 25857 h 35034"/>
                    <a:gd name="connsiteX58" fmla="*/ 25278 w 28462"/>
                    <a:gd name="connsiteY58" fmla="*/ 25110 h 35034"/>
                    <a:gd name="connsiteX59" fmla="*/ 18161 w 28462"/>
                    <a:gd name="connsiteY59" fmla="*/ 9160 h 35034"/>
                    <a:gd name="connsiteX60" fmla="*/ 16430 w 28462"/>
                    <a:gd name="connsiteY60" fmla="*/ 8466 h 35034"/>
                    <a:gd name="connsiteX61" fmla="*/ 16051 w 28462"/>
                    <a:gd name="connsiteY61" fmla="*/ 7709 h 35034"/>
                    <a:gd name="connsiteX62" fmla="*/ 13076 w 28462"/>
                    <a:gd name="connsiteY62" fmla="*/ 9065 h 35034"/>
                    <a:gd name="connsiteX63" fmla="*/ 11840 w 28462"/>
                    <a:gd name="connsiteY63" fmla="*/ 9100 h 35034"/>
                    <a:gd name="connsiteX64" fmla="*/ 10963 w 28462"/>
                    <a:gd name="connsiteY64" fmla="*/ 8232 h 35034"/>
                    <a:gd name="connsiteX65" fmla="*/ 10694 w 28462"/>
                    <a:gd name="connsiteY65" fmla="*/ 7586 h 35034"/>
                    <a:gd name="connsiteX66" fmla="*/ 10464 w 28462"/>
                    <a:gd name="connsiteY66" fmla="*/ 7690 h 35034"/>
                    <a:gd name="connsiteX67" fmla="*/ 10713 w 28462"/>
                    <a:gd name="connsiteY67" fmla="*/ 8264 h 35034"/>
                    <a:gd name="connsiteX68" fmla="*/ 9950 w 28462"/>
                    <a:gd name="connsiteY68" fmla="*/ 10318 h 35034"/>
                    <a:gd name="connsiteX69" fmla="*/ 7183 w 28462"/>
                    <a:gd name="connsiteY69" fmla="*/ 11639 h 35034"/>
                    <a:gd name="connsiteX70" fmla="*/ 23187 w 28462"/>
                    <a:gd name="connsiteY70" fmla="*/ 30387 h 35034"/>
                    <a:gd name="connsiteX71" fmla="*/ 23237 w 28462"/>
                    <a:gd name="connsiteY71" fmla="*/ 30526 h 35034"/>
                    <a:gd name="connsiteX72" fmla="*/ 23187 w 28462"/>
                    <a:gd name="connsiteY72" fmla="*/ 30387 h 35034"/>
                    <a:gd name="connsiteX73" fmla="*/ 24411 w 28462"/>
                    <a:gd name="connsiteY73" fmla="*/ 30195 h 35034"/>
                    <a:gd name="connsiteX74" fmla="*/ 24411 w 28462"/>
                    <a:gd name="connsiteY74" fmla="*/ 30195 h 35034"/>
                    <a:gd name="connsiteX75" fmla="*/ 24411 w 28462"/>
                    <a:gd name="connsiteY75" fmla="*/ 30195 h 35034"/>
                    <a:gd name="connsiteX76" fmla="*/ 25578 w 28462"/>
                    <a:gd name="connsiteY76" fmla="*/ 24955 h 35034"/>
                    <a:gd name="connsiteX77" fmla="*/ 25578 w 28462"/>
                    <a:gd name="connsiteY77" fmla="*/ 24955 h 35034"/>
                    <a:gd name="connsiteX78" fmla="*/ 25578 w 28462"/>
                    <a:gd name="connsiteY78" fmla="*/ 24955 h 350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</a:cxnLst>
                  <a:rect l="l" t="t" r="r" b="b"/>
                  <a:pathLst>
                    <a:path w="28462" h="35034">
                      <a:moveTo>
                        <a:pt x="18676" y="35034"/>
                      </a:moveTo>
                      <a:cubicBezTo>
                        <a:pt x="18319" y="35034"/>
                        <a:pt x="17956" y="34955"/>
                        <a:pt x="17622" y="34801"/>
                      </a:cubicBezTo>
                      <a:cubicBezTo>
                        <a:pt x="17430" y="34712"/>
                        <a:pt x="17256" y="34602"/>
                        <a:pt x="17095" y="34473"/>
                      </a:cubicBezTo>
                      <a:cubicBezTo>
                        <a:pt x="16392" y="34782"/>
                        <a:pt x="15515" y="34788"/>
                        <a:pt x="14723" y="34460"/>
                      </a:cubicBezTo>
                      <a:cubicBezTo>
                        <a:pt x="13925" y="34129"/>
                        <a:pt x="13319" y="33491"/>
                        <a:pt x="13064" y="32712"/>
                      </a:cubicBezTo>
                      <a:lnTo>
                        <a:pt x="4294" y="12936"/>
                      </a:lnTo>
                      <a:cubicBezTo>
                        <a:pt x="4098" y="12557"/>
                        <a:pt x="4051" y="12116"/>
                        <a:pt x="4038" y="11759"/>
                      </a:cubicBezTo>
                      <a:lnTo>
                        <a:pt x="136" y="2980"/>
                      </a:lnTo>
                      <a:cubicBezTo>
                        <a:pt x="-129" y="2384"/>
                        <a:pt x="0" y="1683"/>
                        <a:pt x="464" y="1223"/>
                      </a:cubicBezTo>
                      <a:cubicBezTo>
                        <a:pt x="628" y="1062"/>
                        <a:pt x="827" y="895"/>
                        <a:pt x="1029" y="734"/>
                      </a:cubicBezTo>
                      <a:cubicBezTo>
                        <a:pt x="1139" y="645"/>
                        <a:pt x="1250" y="560"/>
                        <a:pt x="1341" y="472"/>
                      </a:cubicBezTo>
                      <a:cubicBezTo>
                        <a:pt x="1515" y="295"/>
                        <a:pt x="1729" y="163"/>
                        <a:pt x="1962" y="84"/>
                      </a:cubicBezTo>
                      <a:lnTo>
                        <a:pt x="1972" y="84"/>
                      </a:lnTo>
                      <a:cubicBezTo>
                        <a:pt x="2742" y="-178"/>
                        <a:pt x="3581" y="191"/>
                        <a:pt x="3909" y="933"/>
                      </a:cubicBezTo>
                      <a:lnTo>
                        <a:pt x="7152" y="8160"/>
                      </a:lnTo>
                      <a:lnTo>
                        <a:pt x="7218" y="8128"/>
                      </a:lnTo>
                      <a:lnTo>
                        <a:pt x="6947" y="7507"/>
                      </a:lnTo>
                      <a:cubicBezTo>
                        <a:pt x="6600" y="6712"/>
                        <a:pt x="6959" y="5781"/>
                        <a:pt x="7757" y="5431"/>
                      </a:cubicBezTo>
                      <a:lnTo>
                        <a:pt x="10909" y="4043"/>
                      </a:lnTo>
                      <a:cubicBezTo>
                        <a:pt x="11297" y="3873"/>
                        <a:pt x="11742" y="3866"/>
                        <a:pt x="12133" y="4024"/>
                      </a:cubicBezTo>
                      <a:cubicBezTo>
                        <a:pt x="12527" y="4182"/>
                        <a:pt x="12843" y="4494"/>
                        <a:pt x="13000" y="4885"/>
                      </a:cubicBezTo>
                      <a:lnTo>
                        <a:pt x="13259" y="5510"/>
                      </a:lnTo>
                      <a:lnTo>
                        <a:pt x="14792" y="4806"/>
                      </a:lnTo>
                      <a:cubicBezTo>
                        <a:pt x="15531" y="4434"/>
                        <a:pt x="16461" y="4412"/>
                        <a:pt x="17300" y="4756"/>
                      </a:cubicBezTo>
                      <a:cubicBezTo>
                        <a:pt x="17963" y="5030"/>
                        <a:pt x="18493" y="5516"/>
                        <a:pt x="18802" y="6116"/>
                      </a:cubicBezTo>
                      <a:cubicBezTo>
                        <a:pt x="19083" y="6160"/>
                        <a:pt x="19357" y="6242"/>
                        <a:pt x="19619" y="6362"/>
                      </a:cubicBezTo>
                      <a:cubicBezTo>
                        <a:pt x="20335" y="6693"/>
                        <a:pt x="20862" y="7280"/>
                        <a:pt x="21108" y="8015"/>
                      </a:cubicBezTo>
                      <a:lnTo>
                        <a:pt x="28240" y="24005"/>
                      </a:lnTo>
                      <a:cubicBezTo>
                        <a:pt x="28613" y="24936"/>
                        <a:pt x="28499" y="25961"/>
                        <a:pt x="28039" y="26747"/>
                      </a:cubicBezTo>
                      <a:cubicBezTo>
                        <a:pt x="28196" y="27312"/>
                        <a:pt x="28184" y="27914"/>
                        <a:pt x="27991" y="28488"/>
                      </a:cubicBezTo>
                      <a:cubicBezTo>
                        <a:pt x="27726" y="29283"/>
                        <a:pt x="27136" y="29961"/>
                        <a:pt x="26367" y="30346"/>
                      </a:cubicBezTo>
                      <a:lnTo>
                        <a:pt x="26332" y="30359"/>
                      </a:lnTo>
                      <a:cubicBezTo>
                        <a:pt x="26313" y="30665"/>
                        <a:pt x="26237" y="30987"/>
                        <a:pt x="26098" y="31290"/>
                      </a:cubicBezTo>
                      <a:cubicBezTo>
                        <a:pt x="25818" y="31895"/>
                        <a:pt x="25316" y="32349"/>
                        <a:pt x="24704" y="32555"/>
                      </a:cubicBezTo>
                      <a:cubicBezTo>
                        <a:pt x="24054" y="32829"/>
                        <a:pt x="23322" y="32820"/>
                        <a:pt x="22676" y="32523"/>
                      </a:cubicBezTo>
                      <a:cubicBezTo>
                        <a:pt x="22502" y="32444"/>
                        <a:pt x="22344" y="32346"/>
                        <a:pt x="22199" y="32236"/>
                      </a:cubicBezTo>
                      <a:lnTo>
                        <a:pt x="21291" y="32633"/>
                      </a:lnTo>
                      <a:cubicBezTo>
                        <a:pt x="21269" y="32936"/>
                        <a:pt x="21196" y="33255"/>
                        <a:pt x="21057" y="33558"/>
                      </a:cubicBezTo>
                      <a:cubicBezTo>
                        <a:pt x="20777" y="34167"/>
                        <a:pt x="20275" y="34621"/>
                        <a:pt x="19660" y="34826"/>
                      </a:cubicBezTo>
                      <a:cubicBezTo>
                        <a:pt x="19348" y="34958"/>
                        <a:pt x="19016" y="35021"/>
                        <a:pt x="18682" y="35025"/>
                      </a:cubicBezTo>
                      <a:close/>
                      <a:moveTo>
                        <a:pt x="18143" y="32659"/>
                      </a:moveTo>
                      <a:cubicBezTo>
                        <a:pt x="18152" y="32706"/>
                        <a:pt x="18171" y="32753"/>
                        <a:pt x="18193" y="32801"/>
                      </a:cubicBezTo>
                      <a:lnTo>
                        <a:pt x="18143" y="32659"/>
                      </a:lnTo>
                      <a:close/>
                      <a:moveTo>
                        <a:pt x="19313" y="32296"/>
                      </a:moveTo>
                      <a:lnTo>
                        <a:pt x="19332" y="32353"/>
                      </a:lnTo>
                      <a:cubicBezTo>
                        <a:pt x="19332" y="32337"/>
                        <a:pt x="19322" y="32318"/>
                        <a:pt x="19313" y="32296"/>
                      </a:cubicBezTo>
                      <a:close/>
                      <a:moveTo>
                        <a:pt x="7187" y="11643"/>
                      </a:moveTo>
                      <a:cubicBezTo>
                        <a:pt x="7187" y="11674"/>
                        <a:pt x="7193" y="11706"/>
                        <a:pt x="7199" y="11734"/>
                      </a:cubicBezTo>
                      <a:lnTo>
                        <a:pt x="16004" y="31583"/>
                      </a:lnTo>
                      <a:lnTo>
                        <a:pt x="17070" y="31034"/>
                      </a:lnTo>
                      <a:cubicBezTo>
                        <a:pt x="17398" y="30889"/>
                        <a:pt x="17770" y="30860"/>
                        <a:pt x="18102" y="30946"/>
                      </a:cubicBezTo>
                      <a:cubicBezTo>
                        <a:pt x="18266" y="30655"/>
                        <a:pt x="18518" y="30419"/>
                        <a:pt x="18843" y="30274"/>
                      </a:cubicBezTo>
                      <a:lnTo>
                        <a:pt x="21994" y="28886"/>
                      </a:lnTo>
                      <a:cubicBezTo>
                        <a:pt x="22335" y="28731"/>
                        <a:pt x="22726" y="28709"/>
                        <a:pt x="23073" y="28816"/>
                      </a:cubicBezTo>
                      <a:cubicBezTo>
                        <a:pt x="23228" y="28466"/>
                        <a:pt x="23509" y="28170"/>
                        <a:pt x="23884" y="28002"/>
                      </a:cubicBezTo>
                      <a:lnTo>
                        <a:pt x="25020" y="27498"/>
                      </a:lnTo>
                      <a:lnTo>
                        <a:pt x="24751" y="27122"/>
                      </a:lnTo>
                      <a:cubicBezTo>
                        <a:pt x="24556" y="26728"/>
                        <a:pt x="24534" y="26267"/>
                        <a:pt x="24685" y="25857"/>
                      </a:cubicBezTo>
                      <a:cubicBezTo>
                        <a:pt x="24802" y="25551"/>
                        <a:pt x="25013" y="25289"/>
                        <a:pt x="25278" y="25110"/>
                      </a:cubicBezTo>
                      <a:lnTo>
                        <a:pt x="18161" y="9160"/>
                      </a:lnTo>
                      <a:cubicBezTo>
                        <a:pt x="17385" y="9460"/>
                        <a:pt x="16796" y="9195"/>
                        <a:pt x="16430" y="8466"/>
                      </a:cubicBezTo>
                      <a:lnTo>
                        <a:pt x="16051" y="7709"/>
                      </a:lnTo>
                      <a:lnTo>
                        <a:pt x="13076" y="9065"/>
                      </a:lnTo>
                      <a:cubicBezTo>
                        <a:pt x="12688" y="9245"/>
                        <a:pt x="12243" y="9258"/>
                        <a:pt x="11840" y="9100"/>
                      </a:cubicBezTo>
                      <a:cubicBezTo>
                        <a:pt x="11442" y="8942"/>
                        <a:pt x="11123" y="8630"/>
                        <a:pt x="10963" y="8232"/>
                      </a:cubicBezTo>
                      <a:lnTo>
                        <a:pt x="10694" y="7586"/>
                      </a:lnTo>
                      <a:lnTo>
                        <a:pt x="10464" y="7690"/>
                      </a:lnTo>
                      <a:lnTo>
                        <a:pt x="10713" y="8264"/>
                      </a:lnTo>
                      <a:cubicBezTo>
                        <a:pt x="11054" y="9043"/>
                        <a:pt x="10713" y="9952"/>
                        <a:pt x="9950" y="10318"/>
                      </a:cubicBezTo>
                      <a:lnTo>
                        <a:pt x="7183" y="11639"/>
                      </a:lnTo>
                      <a:close/>
                      <a:moveTo>
                        <a:pt x="23187" y="30387"/>
                      </a:moveTo>
                      <a:cubicBezTo>
                        <a:pt x="23196" y="30435"/>
                        <a:pt x="23215" y="30482"/>
                        <a:pt x="23237" y="30526"/>
                      </a:cubicBezTo>
                      <a:lnTo>
                        <a:pt x="23187" y="30387"/>
                      </a:lnTo>
                      <a:close/>
                      <a:moveTo>
                        <a:pt x="24411" y="30195"/>
                      </a:moveTo>
                      <a:cubicBezTo>
                        <a:pt x="24411" y="30195"/>
                        <a:pt x="24411" y="30195"/>
                        <a:pt x="24411" y="30195"/>
                      </a:cubicBezTo>
                      <a:cubicBezTo>
                        <a:pt x="24411" y="30195"/>
                        <a:pt x="24411" y="30195"/>
                        <a:pt x="24411" y="30195"/>
                      </a:cubicBezTo>
                      <a:close/>
                      <a:moveTo>
                        <a:pt x="25578" y="24955"/>
                      </a:moveTo>
                      <a:lnTo>
                        <a:pt x="25578" y="24955"/>
                      </a:lnTo>
                      <a:cubicBezTo>
                        <a:pt x="25578" y="24955"/>
                        <a:pt x="25578" y="24955"/>
                        <a:pt x="25578" y="2495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" name="Freihandform: Form 48">
                  <a:extLst>
                    <a:ext uri="{FF2B5EF4-FFF2-40B4-BE49-F238E27FC236}">
                      <a16:creationId xmlns:a16="http://schemas.microsoft.com/office/drawing/2014/main" id="{B38A1C53-5A65-AF70-EAC1-B295E26FBB58}"/>
                    </a:ext>
                  </a:extLst>
                </p:cNvPr>
                <p:cNvSpPr/>
                <p:nvPr/>
              </p:nvSpPr>
              <p:spPr>
                <a:xfrm>
                  <a:off x="1077213" y="5223607"/>
                  <a:ext cx="15325" cy="24015"/>
                </a:xfrm>
                <a:custGeom>
                  <a:avLst/>
                  <a:gdLst>
                    <a:gd name="connsiteX0" fmla="*/ 5375 w 15325"/>
                    <a:gd name="connsiteY0" fmla="*/ 24016 h 24015"/>
                    <a:gd name="connsiteX1" fmla="*/ 4407 w 15325"/>
                    <a:gd name="connsiteY1" fmla="*/ 23934 h 24015"/>
                    <a:gd name="connsiteX2" fmla="*/ 952 w 15325"/>
                    <a:gd name="connsiteY2" fmla="*/ 21678 h 24015"/>
                    <a:gd name="connsiteX3" fmla="*/ 91 w 15325"/>
                    <a:gd name="connsiteY3" fmla="*/ 17675 h 24015"/>
                    <a:gd name="connsiteX4" fmla="*/ 1855 w 15325"/>
                    <a:gd name="connsiteY4" fmla="*/ 7855 h 24015"/>
                    <a:gd name="connsiteX5" fmla="*/ 1987 w 15325"/>
                    <a:gd name="connsiteY5" fmla="*/ 7319 h 24015"/>
                    <a:gd name="connsiteX6" fmla="*/ 2164 w 15325"/>
                    <a:gd name="connsiteY6" fmla="*/ 6624 h 24015"/>
                    <a:gd name="connsiteX7" fmla="*/ 4883 w 15325"/>
                    <a:gd name="connsiteY7" fmla="*/ 899 h 24015"/>
                    <a:gd name="connsiteX8" fmla="*/ 6918 w 15325"/>
                    <a:gd name="connsiteY8" fmla="*/ 123 h 24015"/>
                    <a:gd name="connsiteX9" fmla="*/ 13905 w 15325"/>
                    <a:gd name="connsiteY9" fmla="*/ 1896 h 24015"/>
                    <a:gd name="connsiteX10" fmla="*/ 15120 w 15325"/>
                    <a:gd name="connsiteY10" fmla="*/ 2688 h 24015"/>
                    <a:gd name="connsiteX11" fmla="*/ 15177 w 15325"/>
                    <a:gd name="connsiteY11" fmla="*/ 4135 h 24015"/>
                    <a:gd name="connsiteX12" fmla="*/ 12243 w 15325"/>
                    <a:gd name="connsiteY12" fmla="*/ 10372 h 24015"/>
                    <a:gd name="connsiteX13" fmla="*/ 10634 w 15325"/>
                    <a:gd name="connsiteY13" fmla="*/ 19615 h 24015"/>
                    <a:gd name="connsiteX14" fmla="*/ 5378 w 15325"/>
                    <a:gd name="connsiteY14" fmla="*/ 24010 h 24015"/>
                    <a:gd name="connsiteX15" fmla="*/ 5098 w 15325"/>
                    <a:gd name="connsiteY15" fmla="*/ 7785 h 24015"/>
                    <a:gd name="connsiteX16" fmla="*/ 5079 w 15325"/>
                    <a:gd name="connsiteY16" fmla="*/ 7940 h 24015"/>
                    <a:gd name="connsiteX17" fmla="*/ 4902 w 15325"/>
                    <a:gd name="connsiteY17" fmla="*/ 8634 h 24015"/>
                    <a:gd name="connsiteX18" fmla="*/ 3192 w 15325"/>
                    <a:gd name="connsiteY18" fmla="*/ 18246 h 24015"/>
                    <a:gd name="connsiteX19" fmla="*/ 3192 w 15325"/>
                    <a:gd name="connsiteY19" fmla="*/ 18256 h 24015"/>
                    <a:gd name="connsiteX20" fmla="*/ 3558 w 15325"/>
                    <a:gd name="connsiteY20" fmla="*/ 19896 h 24015"/>
                    <a:gd name="connsiteX21" fmla="*/ 4956 w 15325"/>
                    <a:gd name="connsiteY21" fmla="*/ 20830 h 24015"/>
                    <a:gd name="connsiteX22" fmla="*/ 7527 w 15325"/>
                    <a:gd name="connsiteY22" fmla="*/ 19060 h 24015"/>
                    <a:gd name="connsiteX23" fmla="*/ 9167 w 15325"/>
                    <a:gd name="connsiteY23" fmla="*/ 9628 h 24015"/>
                    <a:gd name="connsiteX24" fmla="*/ 9293 w 15325"/>
                    <a:gd name="connsiteY24" fmla="*/ 9227 h 24015"/>
                    <a:gd name="connsiteX25" fmla="*/ 11407 w 15325"/>
                    <a:gd name="connsiteY25" fmla="*/ 4732 h 24015"/>
                    <a:gd name="connsiteX26" fmla="*/ 7101 w 15325"/>
                    <a:gd name="connsiteY26" fmla="*/ 3577 h 24015"/>
                    <a:gd name="connsiteX27" fmla="*/ 5082 w 15325"/>
                    <a:gd name="connsiteY27" fmla="*/ 7801 h 24015"/>
                    <a:gd name="connsiteX28" fmla="*/ 5098 w 15325"/>
                    <a:gd name="connsiteY28" fmla="*/ 7782 h 24015"/>
                    <a:gd name="connsiteX29" fmla="*/ 1640 w 15325"/>
                    <a:gd name="connsiteY29" fmla="*/ 17965 h 24015"/>
                    <a:gd name="connsiteX30" fmla="*/ 1672 w 15325"/>
                    <a:gd name="connsiteY30" fmla="*/ 17965 h 24015"/>
                    <a:gd name="connsiteX31" fmla="*/ 1640 w 15325"/>
                    <a:gd name="connsiteY31" fmla="*/ 17965 h 24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15325" h="24015">
                      <a:moveTo>
                        <a:pt x="5375" y="24016"/>
                      </a:moveTo>
                      <a:cubicBezTo>
                        <a:pt x="5057" y="24016"/>
                        <a:pt x="4735" y="23988"/>
                        <a:pt x="4407" y="23934"/>
                      </a:cubicBezTo>
                      <a:cubicBezTo>
                        <a:pt x="2984" y="23669"/>
                        <a:pt x="1770" y="22868"/>
                        <a:pt x="952" y="21678"/>
                      </a:cubicBezTo>
                      <a:cubicBezTo>
                        <a:pt x="135" y="20486"/>
                        <a:pt x="-171" y="19063"/>
                        <a:pt x="91" y="17675"/>
                      </a:cubicBezTo>
                      <a:lnTo>
                        <a:pt x="1855" y="7855"/>
                      </a:lnTo>
                      <a:cubicBezTo>
                        <a:pt x="1949" y="7517"/>
                        <a:pt x="1968" y="7416"/>
                        <a:pt x="1987" y="7319"/>
                      </a:cubicBezTo>
                      <a:cubicBezTo>
                        <a:pt x="2031" y="7101"/>
                        <a:pt x="2076" y="6883"/>
                        <a:pt x="2164" y="6624"/>
                      </a:cubicBezTo>
                      <a:lnTo>
                        <a:pt x="4883" y="899"/>
                      </a:lnTo>
                      <a:cubicBezTo>
                        <a:pt x="5246" y="139"/>
                        <a:pt x="6148" y="-202"/>
                        <a:pt x="6918" y="123"/>
                      </a:cubicBezTo>
                      <a:cubicBezTo>
                        <a:pt x="9148" y="1060"/>
                        <a:pt x="11498" y="1656"/>
                        <a:pt x="13905" y="1896"/>
                      </a:cubicBezTo>
                      <a:cubicBezTo>
                        <a:pt x="14413" y="1946"/>
                        <a:pt x="14871" y="2243"/>
                        <a:pt x="15120" y="2688"/>
                      </a:cubicBezTo>
                      <a:cubicBezTo>
                        <a:pt x="15372" y="3132"/>
                        <a:pt x="15394" y="3672"/>
                        <a:pt x="15177" y="4135"/>
                      </a:cubicBezTo>
                      <a:lnTo>
                        <a:pt x="12243" y="10372"/>
                      </a:lnTo>
                      <a:lnTo>
                        <a:pt x="10634" y="19615"/>
                      </a:lnTo>
                      <a:cubicBezTo>
                        <a:pt x="10139" y="22256"/>
                        <a:pt x="7962" y="24010"/>
                        <a:pt x="5378" y="24010"/>
                      </a:cubicBezTo>
                      <a:close/>
                      <a:moveTo>
                        <a:pt x="5098" y="7785"/>
                      </a:moveTo>
                      <a:cubicBezTo>
                        <a:pt x="5098" y="7785"/>
                        <a:pt x="5098" y="7864"/>
                        <a:pt x="5079" y="7940"/>
                      </a:cubicBezTo>
                      <a:cubicBezTo>
                        <a:pt x="5035" y="8158"/>
                        <a:pt x="4990" y="8375"/>
                        <a:pt x="4902" y="8634"/>
                      </a:cubicBezTo>
                      <a:lnTo>
                        <a:pt x="3192" y="18246"/>
                      </a:lnTo>
                      <a:cubicBezTo>
                        <a:pt x="3192" y="18246"/>
                        <a:pt x="3192" y="18249"/>
                        <a:pt x="3192" y="18256"/>
                      </a:cubicBezTo>
                      <a:cubicBezTo>
                        <a:pt x="3088" y="18817"/>
                        <a:pt x="3217" y="19398"/>
                        <a:pt x="3558" y="19896"/>
                      </a:cubicBezTo>
                      <a:cubicBezTo>
                        <a:pt x="3896" y="20391"/>
                        <a:pt x="4397" y="20726"/>
                        <a:pt x="4956" y="20830"/>
                      </a:cubicBezTo>
                      <a:cubicBezTo>
                        <a:pt x="6483" y="21076"/>
                        <a:pt x="7331" y="20120"/>
                        <a:pt x="7527" y="19060"/>
                      </a:cubicBezTo>
                      <a:lnTo>
                        <a:pt x="9167" y="9628"/>
                      </a:lnTo>
                      <a:cubicBezTo>
                        <a:pt x="9189" y="9489"/>
                        <a:pt x="9233" y="9353"/>
                        <a:pt x="9293" y="9227"/>
                      </a:cubicBezTo>
                      <a:lnTo>
                        <a:pt x="11407" y="4732"/>
                      </a:lnTo>
                      <a:cubicBezTo>
                        <a:pt x="9943" y="4464"/>
                        <a:pt x="8501" y="4079"/>
                        <a:pt x="7101" y="3577"/>
                      </a:cubicBezTo>
                      <a:lnTo>
                        <a:pt x="5082" y="7801"/>
                      </a:lnTo>
                      <a:cubicBezTo>
                        <a:pt x="5082" y="7801"/>
                        <a:pt x="5094" y="7782"/>
                        <a:pt x="5098" y="7782"/>
                      </a:cubicBezTo>
                      <a:close/>
                      <a:moveTo>
                        <a:pt x="1640" y="17965"/>
                      </a:moveTo>
                      <a:lnTo>
                        <a:pt x="1672" y="17965"/>
                      </a:lnTo>
                      <a:lnTo>
                        <a:pt x="1640" y="179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" name="Freihandform: Form 49">
                  <a:extLst>
                    <a:ext uri="{FF2B5EF4-FFF2-40B4-BE49-F238E27FC236}">
                      <a16:creationId xmlns:a16="http://schemas.microsoft.com/office/drawing/2014/main" id="{B7361E9F-4A75-29C2-6C2C-E18D096B78DC}"/>
                    </a:ext>
                  </a:extLst>
                </p:cNvPr>
                <p:cNvSpPr/>
                <p:nvPr/>
              </p:nvSpPr>
              <p:spPr>
                <a:xfrm>
                  <a:off x="1092782" y="5224615"/>
                  <a:ext cx="22716" cy="22587"/>
                </a:xfrm>
                <a:custGeom>
                  <a:avLst/>
                  <a:gdLst>
                    <a:gd name="connsiteX0" fmla="*/ 17352 w 22716"/>
                    <a:gd name="connsiteY0" fmla="*/ 22588 h 22587"/>
                    <a:gd name="connsiteX1" fmla="*/ 13696 w 22716"/>
                    <a:gd name="connsiteY1" fmla="*/ 21099 h 22587"/>
                    <a:gd name="connsiteX2" fmla="*/ 4526 w 22716"/>
                    <a:gd name="connsiteY2" fmla="*/ 12430 h 22587"/>
                    <a:gd name="connsiteX3" fmla="*/ 3314 w 22716"/>
                    <a:gd name="connsiteY3" fmla="*/ 10720 h 22587"/>
                    <a:gd name="connsiteX4" fmla="*/ 128 w 22716"/>
                    <a:gd name="connsiteY4" fmla="*/ 3335 h 22587"/>
                    <a:gd name="connsiteX5" fmla="*/ 257 w 22716"/>
                    <a:gd name="connsiteY5" fmla="*/ 1843 h 22587"/>
                    <a:gd name="connsiteX6" fmla="*/ 1576 w 22716"/>
                    <a:gd name="connsiteY6" fmla="*/ 1133 h 22587"/>
                    <a:gd name="connsiteX7" fmla="*/ 8813 w 22716"/>
                    <a:gd name="connsiteY7" fmla="*/ 64 h 22587"/>
                    <a:gd name="connsiteX8" fmla="*/ 10709 w 22716"/>
                    <a:gd name="connsiteY8" fmla="*/ 931 h 22587"/>
                    <a:gd name="connsiteX9" fmla="*/ 12721 w 22716"/>
                    <a:gd name="connsiteY9" fmla="*/ 5443 h 22587"/>
                    <a:gd name="connsiteX10" fmla="*/ 21072 w 22716"/>
                    <a:gd name="connsiteY10" fmla="*/ 13424 h 22587"/>
                    <a:gd name="connsiteX11" fmla="*/ 21270 w 22716"/>
                    <a:gd name="connsiteY11" fmla="*/ 20922 h 22587"/>
                    <a:gd name="connsiteX12" fmla="*/ 17438 w 22716"/>
                    <a:gd name="connsiteY12" fmla="*/ 22585 h 22587"/>
                    <a:gd name="connsiteX13" fmla="*/ 17352 w 22716"/>
                    <a:gd name="connsiteY13" fmla="*/ 22585 h 22587"/>
                    <a:gd name="connsiteX14" fmla="*/ 3933 w 22716"/>
                    <a:gd name="connsiteY14" fmla="*/ 4190 h 22587"/>
                    <a:gd name="connsiteX15" fmla="*/ 6176 w 22716"/>
                    <a:gd name="connsiteY15" fmla="*/ 9398 h 22587"/>
                    <a:gd name="connsiteX16" fmla="*/ 6724 w 22716"/>
                    <a:gd name="connsiteY16" fmla="*/ 10168 h 22587"/>
                    <a:gd name="connsiteX17" fmla="*/ 15895 w 22716"/>
                    <a:gd name="connsiteY17" fmla="*/ 18837 h 22587"/>
                    <a:gd name="connsiteX18" fmla="*/ 17387 w 22716"/>
                    <a:gd name="connsiteY18" fmla="*/ 19433 h 22587"/>
                    <a:gd name="connsiteX19" fmla="*/ 18993 w 22716"/>
                    <a:gd name="connsiteY19" fmla="*/ 18742 h 22587"/>
                    <a:gd name="connsiteX20" fmla="*/ 18917 w 22716"/>
                    <a:gd name="connsiteY20" fmla="*/ 15727 h 22587"/>
                    <a:gd name="connsiteX21" fmla="*/ 10314 w 22716"/>
                    <a:gd name="connsiteY21" fmla="*/ 7509 h 22587"/>
                    <a:gd name="connsiteX22" fmla="*/ 9967 w 22716"/>
                    <a:gd name="connsiteY22" fmla="*/ 7014 h 22587"/>
                    <a:gd name="connsiteX23" fmla="*/ 8377 w 22716"/>
                    <a:gd name="connsiteY23" fmla="*/ 3455 h 22587"/>
                    <a:gd name="connsiteX24" fmla="*/ 3936 w 22716"/>
                    <a:gd name="connsiteY24" fmla="*/ 4190 h 22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22716" h="22587">
                      <a:moveTo>
                        <a:pt x="17352" y="22588"/>
                      </a:moveTo>
                      <a:cubicBezTo>
                        <a:pt x="15971" y="22588"/>
                        <a:pt x="14646" y="22049"/>
                        <a:pt x="13696" y="21099"/>
                      </a:cubicBezTo>
                      <a:lnTo>
                        <a:pt x="4526" y="12430"/>
                      </a:lnTo>
                      <a:cubicBezTo>
                        <a:pt x="4008" y="11913"/>
                        <a:pt x="3658" y="11411"/>
                        <a:pt x="3314" y="10720"/>
                      </a:cubicBezTo>
                      <a:lnTo>
                        <a:pt x="128" y="3335"/>
                      </a:lnTo>
                      <a:cubicBezTo>
                        <a:pt x="-80" y="2849"/>
                        <a:pt x="-33" y="2288"/>
                        <a:pt x="257" y="1843"/>
                      </a:cubicBezTo>
                      <a:cubicBezTo>
                        <a:pt x="551" y="1398"/>
                        <a:pt x="1046" y="1133"/>
                        <a:pt x="1576" y="1133"/>
                      </a:cubicBezTo>
                      <a:cubicBezTo>
                        <a:pt x="4049" y="1133"/>
                        <a:pt x="6415" y="783"/>
                        <a:pt x="8813" y="64"/>
                      </a:cubicBezTo>
                      <a:cubicBezTo>
                        <a:pt x="9579" y="-157"/>
                        <a:pt x="10387" y="209"/>
                        <a:pt x="10709" y="931"/>
                      </a:cubicBezTo>
                      <a:lnTo>
                        <a:pt x="12721" y="5443"/>
                      </a:lnTo>
                      <a:lnTo>
                        <a:pt x="21072" y="13424"/>
                      </a:lnTo>
                      <a:cubicBezTo>
                        <a:pt x="23179" y="15351"/>
                        <a:pt x="23280" y="18727"/>
                        <a:pt x="21270" y="20922"/>
                      </a:cubicBezTo>
                      <a:cubicBezTo>
                        <a:pt x="20204" y="21989"/>
                        <a:pt x="18860" y="22563"/>
                        <a:pt x="17438" y="22585"/>
                      </a:cubicBezTo>
                      <a:cubicBezTo>
                        <a:pt x="17409" y="22585"/>
                        <a:pt x="17378" y="22585"/>
                        <a:pt x="17352" y="22585"/>
                      </a:cubicBezTo>
                      <a:close/>
                      <a:moveTo>
                        <a:pt x="3933" y="4190"/>
                      </a:moveTo>
                      <a:lnTo>
                        <a:pt x="6176" y="9398"/>
                      </a:lnTo>
                      <a:cubicBezTo>
                        <a:pt x="6330" y="9701"/>
                        <a:pt x="6488" y="9932"/>
                        <a:pt x="6724" y="10168"/>
                      </a:cubicBezTo>
                      <a:lnTo>
                        <a:pt x="15895" y="18837"/>
                      </a:lnTo>
                      <a:cubicBezTo>
                        <a:pt x="16299" y="19241"/>
                        <a:pt x="16794" y="19430"/>
                        <a:pt x="17387" y="19433"/>
                      </a:cubicBezTo>
                      <a:cubicBezTo>
                        <a:pt x="17986" y="19424"/>
                        <a:pt x="18557" y="19178"/>
                        <a:pt x="18993" y="18742"/>
                      </a:cubicBezTo>
                      <a:cubicBezTo>
                        <a:pt x="19766" y="17894"/>
                        <a:pt x="19750" y="16493"/>
                        <a:pt x="18917" y="15727"/>
                      </a:cubicBezTo>
                      <a:lnTo>
                        <a:pt x="10314" y="7509"/>
                      </a:lnTo>
                      <a:cubicBezTo>
                        <a:pt x="10166" y="7370"/>
                        <a:pt x="10049" y="7200"/>
                        <a:pt x="9967" y="7014"/>
                      </a:cubicBezTo>
                      <a:lnTo>
                        <a:pt x="8377" y="3455"/>
                      </a:lnTo>
                      <a:cubicBezTo>
                        <a:pt x="6901" y="3824"/>
                        <a:pt x="5428" y="4067"/>
                        <a:pt x="3936" y="419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" name="Freihandform: Form 50">
                  <a:extLst>
                    <a:ext uri="{FF2B5EF4-FFF2-40B4-BE49-F238E27FC236}">
                      <a16:creationId xmlns:a16="http://schemas.microsoft.com/office/drawing/2014/main" id="{9AEAA55D-6BA7-40E8-D5BC-A442F40AC98F}"/>
                    </a:ext>
                  </a:extLst>
                </p:cNvPr>
                <p:cNvSpPr/>
                <p:nvPr/>
              </p:nvSpPr>
              <p:spPr>
                <a:xfrm>
                  <a:off x="1078408" y="5179367"/>
                  <a:ext cx="39447" cy="48299"/>
                </a:xfrm>
                <a:custGeom>
                  <a:avLst/>
                  <a:gdLst>
                    <a:gd name="connsiteX0" fmla="*/ 15820 w 39447"/>
                    <a:gd name="connsiteY0" fmla="*/ 48300 h 48299"/>
                    <a:gd name="connsiteX1" fmla="*/ 770 w 39447"/>
                    <a:gd name="connsiteY1" fmla="*/ 44016 h 48299"/>
                    <a:gd name="connsiteX2" fmla="*/ 31 w 39447"/>
                    <a:gd name="connsiteY2" fmla="*/ 42350 h 48299"/>
                    <a:gd name="connsiteX3" fmla="*/ 4827 w 39447"/>
                    <a:gd name="connsiteY3" fmla="*/ 18649 h 48299"/>
                    <a:gd name="connsiteX4" fmla="*/ 4795 w 39447"/>
                    <a:gd name="connsiteY4" fmla="*/ 4211 h 48299"/>
                    <a:gd name="connsiteX5" fmla="*/ 5612 w 39447"/>
                    <a:gd name="connsiteY5" fmla="*/ 2829 h 48299"/>
                    <a:gd name="connsiteX6" fmla="*/ 25647 w 39447"/>
                    <a:gd name="connsiteY6" fmla="*/ 2564 h 48299"/>
                    <a:gd name="connsiteX7" fmla="*/ 27830 w 39447"/>
                    <a:gd name="connsiteY7" fmla="*/ 4640 h 48299"/>
                    <a:gd name="connsiteX8" fmla="*/ 39083 w 39447"/>
                    <a:gd name="connsiteY8" fmla="*/ 30050 h 48299"/>
                    <a:gd name="connsiteX9" fmla="*/ 39202 w 39447"/>
                    <a:gd name="connsiteY9" fmla="*/ 33019 h 48299"/>
                    <a:gd name="connsiteX10" fmla="*/ 37019 w 39447"/>
                    <a:gd name="connsiteY10" fmla="*/ 35407 h 48299"/>
                    <a:gd name="connsiteX11" fmla="*/ 31638 w 39447"/>
                    <a:gd name="connsiteY11" fmla="*/ 33287 h 48299"/>
                    <a:gd name="connsiteX12" fmla="*/ 25729 w 39447"/>
                    <a:gd name="connsiteY12" fmla="*/ 19895 h 48299"/>
                    <a:gd name="connsiteX13" fmla="*/ 25537 w 39447"/>
                    <a:gd name="connsiteY13" fmla="*/ 19905 h 48299"/>
                    <a:gd name="connsiteX14" fmla="*/ 23079 w 39447"/>
                    <a:gd name="connsiteY14" fmla="*/ 19905 h 48299"/>
                    <a:gd name="connsiteX15" fmla="*/ 23079 w 39447"/>
                    <a:gd name="connsiteY15" fmla="*/ 31628 h 48299"/>
                    <a:gd name="connsiteX16" fmla="*/ 28183 w 39447"/>
                    <a:gd name="connsiteY16" fmla="*/ 31628 h 48299"/>
                    <a:gd name="connsiteX17" fmla="*/ 29729 w 39447"/>
                    <a:gd name="connsiteY17" fmla="*/ 32896 h 48299"/>
                    <a:gd name="connsiteX18" fmla="*/ 31619 w 39447"/>
                    <a:gd name="connsiteY18" fmla="*/ 42350 h 48299"/>
                    <a:gd name="connsiteX19" fmla="*/ 30881 w 39447"/>
                    <a:gd name="connsiteY19" fmla="*/ 44013 h 48299"/>
                    <a:gd name="connsiteX20" fmla="*/ 15827 w 39447"/>
                    <a:gd name="connsiteY20" fmla="*/ 48297 h 48299"/>
                    <a:gd name="connsiteX21" fmla="*/ 3347 w 39447"/>
                    <a:gd name="connsiteY21" fmla="*/ 41858 h 48299"/>
                    <a:gd name="connsiteX22" fmla="*/ 28300 w 39447"/>
                    <a:gd name="connsiteY22" fmla="*/ 41858 h 48299"/>
                    <a:gd name="connsiteX23" fmla="*/ 26887 w 39447"/>
                    <a:gd name="connsiteY23" fmla="*/ 34785 h 48299"/>
                    <a:gd name="connsiteX24" fmla="*/ 21499 w 39447"/>
                    <a:gd name="connsiteY24" fmla="*/ 34785 h 48299"/>
                    <a:gd name="connsiteX25" fmla="*/ 19921 w 39447"/>
                    <a:gd name="connsiteY25" fmla="*/ 33208 h 48299"/>
                    <a:gd name="connsiteX26" fmla="*/ 19921 w 39447"/>
                    <a:gd name="connsiteY26" fmla="*/ 18331 h 48299"/>
                    <a:gd name="connsiteX27" fmla="*/ 21499 w 39447"/>
                    <a:gd name="connsiteY27" fmla="*/ 16753 h 48299"/>
                    <a:gd name="connsiteX28" fmla="*/ 23956 w 39447"/>
                    <a:gd name="connsiteY28" fmla="*/ 16753 h 48299"/>
                    <a:gd name="connsiteX29" fmla="*/ 23956 w 39447"/>
                    <a:gd name="connsiteY29" fmla="*/ 15558 h 48299"/>
                    <a:gd name="connsiteX30" fmla="*/ 25205 w 39447"/>
                    <a:gd name="connsiteY30" fmla="*/ 14015 h 48299"/>
                    <a:gd name="connsiteX31" fmla="*/ 26975 w 39447"/>
                    <a:gd name="connsiteY31" fmla="*/ 14924 h 48299"/>
                    <a:gd name="connsiteX32" fmla="*/ 34537 w 39447"/>
                    <a:gd name="connsiteY32" fmla="*/ 32069 h 48299"/>
                    <a:gd name="connsiteX33" fmla="*/ 35786 w 39447"/>
                    <a:gd name="connsiteY33" fmla="*/ 32505 h 48299"/>
                    <a:gd name="connsiteX34" fmla="*/ 36231 w 39447"/>
                    <a:gd name="connsiteY34" fmla="*/ 31952 h 48299"/>
                    <a:gd name="connsiteX35" fmla="*/ 36221 w 39447"/>
                    <a:gd name="connsiteY35" fmla="*/ 31394 h 48299"/>
                    <a:gd name="connsiteX36" fmla="*/ 24972 w 39447"/>
                    <a:gd name="connsiteY36" fmla="*/ 5990 h 48299"/>
                    <a:gd name="connsiteX37" fmla="*/ 24316 w 39447"/>
                    <a:gd name="connsiteY37" fmla="*/ 5428 h 48299"/>
                    <a:gd name="connsiteX38" fmla="*/ 7946 w 39447"/>
                    <a:gd name="connsiteY38" fmla="*/ 5167 h 48299"/>
                    <a:gd name="connsiteX39" fmla="*/ 7946 w 39447"/>
                    <a:gd name="connsiteY39" fmla="*/ 18965 h 48299"/>
                    <a:gd name="connsiteX40" fmla="*/ 3347 w 39447"/>
                    <a:gd name="connsiteY40" fmla="*/ 41861 h 48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</a:cxnLst>
                  <a:rect l="l" t="t" r="r" b="b"/>
                  <a:pathLst>
                    <a:path w="39447" h="48299">
                      <a:moveTo>
                        <a:pt x="15820" y="48300"/>
                      </a:moveTo>
                      <a:cubicBezTo>
                        <a:pt x="10685" y="48300"/>
                        <a:pt x="5549" y="46871"/>
                        <a:pt x="770" y="44016"/>
                      </a:cubicBezTo>
                      <a:cubicBezTo>
                        <a:pt x="192" y="43675"/>
                        <a:pt x="-101" y="43006"/>
                        <a:pt x="31" y="42350"/>
                      </a:cubicBezTo>
                      <a:lnTo>
                        <a:pt x="4827" y="18649"/>
                      </a:lnTo>
                      <a:lnTo>
                        <a:pt x="4795" y="4211"/>
                      </a:lnTo>
                      <a:cubicBezTo>
                        <a:pt x="4795" y="3637"/>
                        <a:pt x="5110" y="3107"/>
                        <a:pt x="5612" y="2829"/>
                      </a:cubicBezTo>
                      <a:cubicBezTo>
                        <a:pt x="12300" y="-852"/>
                        <a:pt x="19038" y="-941"/>
                        <a:pt x="25647" y="2564"/>
                      </a:cubicBezTo>
                      <a:cubicBezTo>
                        <a:pt x="26571" y="2924"/>
                        <a:pt x="27313" y="3608"/>
                        <a:pt x="27830" y="4640"/>
                      </a:cubicBezTo>
                      <a:lnTo>
                        <a:pt x="39083" y="30050"/>
                      </a:lnTo>
                      <a:cubicBezTo>
                        <a:pt x="39518" y="30924"/>
                        <a:pt x="39572" y="32003"/>
                        <a:pt x="39202" y="33019"/>
                      </a:cubicBezTo>
                      <a:cubicBezTo>
                        <a:pt x="38818" y="34091"/>
                        <a:pt x="38019" y="34962"/>
                        <a:pt x="37019" y="35407"/>
                      </a:cubicBezTo>
                      <a:cubicBezTo>
                        <a:pt x="34836" y="36274"/>
                        <a:pt x="32448" y="35318"/>
                        <a:pt x="31638" y="33287"/>
                      </a:cubicBezTo>
                      <a:lnTo>
                        <a:pt x="25729" y="19895"/>
                      </a:lnTo>
                      <a:cubicBezTo>
                        <a:pt x="25666" y="19902"/>
                        <a:pt x="25603" y="19905"/>
                        <a:pt x="25537" y="19905"/>
                      </a:cubicBezTo>
                      <a:lnTo>
                        <a:pt x="23079" y="19905"/>
                      </a:lnTo>
                      <a:lnTo>
                        <a:pt x="23079" y="31628"/>
                      </a:lnTo>
                      <a:lnTo>
                        <a:pt x="28183" y="31628"/>
                      </a:lnTo>
                      <a:cubicBezTo>
                        <a:pt x="28934" y="31628"/>
                        <a:pt x="29581" y="32158"/>
                        <a:pt x="29729" y="32896"/>
                      </a:cubicBezTo>
                      <a:lnTo>
                        <a:pt x="31619" y="42350"/>
                      </a:lnTo>
                      <a:cubicBezTo>
                        <a:pt x="31751" y="43006"/>
                        <a:pt x="31455" y="43672"/>
                        <a:pt x="30881" y="44013"/>
                      </a:cubicBezTo>
                      <a:cubicBezTo>
                        <a:pt x="26095" y="46868"/>
                        <a:pt x="20959" y="48297"/>
                        <a:pt x="15827" y="48297"/>
                      </a:cubicBezTo>
                      <a:close/>
                      <a:moveTo>
                        <a:pt x="3347" y="41858"/>
                      </a:moveTo>
                      <a:cubicBezTo>
                        <a:pt x="11325" y="46221"/>
                        <a:pt x="20309" y="46224"/>
                        <a:pt x="28300" y="41858"/>
                      </a:cubicBezTo>
                      <a:lnTo>
                        <a:pt x="26887" y="34785"/>
                      </a:lnTo>
                      <a:lnTo>
                        <a:pt x="21499" y="34785"/>
                      </a:lnTo>
                      <a:cubicBezTo>
                        <a:pt x="20628" y="34785"/>
                        <a:pt x="19921" y="34079"/>
                        <a:pt x="19921" y="33208"/>
                      </a:cubicBezTo>
                      <a:lnTo>
                        <a:pt x="19921" y="18331"/>
                      </a:lnTo>
                      <a:cubicBezTo>
                        <a:pt x="19921" y="17460"/>
                        <a:pt x="20628" y="16753"/>
                        <a:pt x="21499" y="16753"/>
                      </a:cubicBezTo>
                      <a:lnTo>
                        <a:pt x="23956" y="16753"/>
                      </a:lnTo>
                      <a:lnTo>
                        <a:pt x="23956" y="15558"/>
                      </a:lnTo>
                      <a:cubicBezTo>
                        <a:pt x="23956" y="14813"/>
                        <a:pt x="24480" y="14170"/>
                        <a:pt x="25205" y="14015"/>
                      </a:cubicBezTo>
                      <a:cubicBezTo>
                        <a:pt x="25950" y="13858"/>
                        <a:pt x="26672" y="14239"/>
                        <a:pt x="26975" y="14924"/>
                      </a:cubicBezTo>
                      <a:lnTo>
                        <a:pt x="34537" y="32069"/>
                      </a:lnTo>
                      <a:cubicBezTo>
                        <a:pt x="34732" y="32561"/>
                        <a:pt x="35348" y="32678"/>
                        <a:pt x="35786" y="32505"/>
                      </a:cubicBezTo>
                      <a:cubicBezTo>
                        <a:pt x="35937" y="32435"/>
                        <a:pt x="36136" y="32205"/>
                        <a:pt x="36231" y="31952"/>
                      </a:cubicBezTo>
                      <a:cubicBezTo>
                        <a:pt x="36284" y="31811"/>
                        <a:pt x="36322" y="31596"/>
                        <a:pt x="36221" y="31394"/>
                      </a:cubicBezTo>
                      <a:lnTo>
                        <a:pt x="24972" y="5990"/>
                      </a:lnTo>
                      <a:cubicBezTo>
                        <a:pt x="24814" y="5681"/>
                        <a:pt x="24625" y="5551"/>
                        <a:pt x="24316" y="5428"/>
                      </a:cubicBezTo>
                      <a:cubicBezTo>
                        <a:pt x="18751" y="2482"/>
                        <a:pt x="13432" y="2416"/>
                        <a:pt x="7946" y="5167"/>
                      </a:cubicBezTo>
                      <a:lnTo>
                        <a:pt x="7946" y="18965"/>
                      </a:lnTo>
                      <a:lnTo>
                        <a:pt x="3347" y="4186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2" name="Freihandform: Form 51">
                  <a:extLst>
                    <a:ext uri="{FF2B5EF4-FFF2-40B4-BE49-F238E27FC236}">
                      <a16:creationId xmlns:a16="http://schemas.microsoft.com/office/drawing/2014/main" id="{8A9254A2-4D38-8FF6-C504-8C2AB74E7615}"/>
                    </a:ext>
                  </a:extLst>
                </p:cNvPr>
                <p:cNvSpPr/>
                <p:nvPr/>
              </p:nvSpPr>
              <p:spPr>
                <a:xfrm>
                  <a:off x="1111062" y="5197635"/>
                  <a:ext cx="9835" cy="15132"/>
                </a:xfrm>
                <a:custGeom>
                  <a:avLst/>
                  <a:gdLst>
                    <a:gd name="connsiteX0" fmla="*/ 8258 w 9835"/>
                    <a:gd name="connsiteY0" fmla="*/ 15133 h 15132"/>
                    <a:gd name="connsiteX1" fmla="*/ 6492 w 9835"/>
                    <a:gd name="connsiteY1" fmla="*/ 15133 h 15132"/>
                    <a:gd name="connsiteX2" fmla="*/ 4914 w 9835"/>
                    <a:gd name="connsiteY2" fmla="*/ 13555 h 15132"/>
                    <a:gd name="connsiteX3" fmla="*/ 4703 w 9835"/>
                    <a:gd name="connsiteY3" fmla="*/ 12622 h 15132"/>
                    <a:gd name="connsiteX4" fmla="*/ 132 w 9835"/>
                    <a:gd name="connsiteY4" fmla="*/ 2215 h 15132"/>
                    <a:gd name="connsiteX5" fmla="*/ 255 w 9835"/>
                    <a:gd name="connsiteY5" fmla="*/ 716 h 15132"/>
                    <a:gd name="connsiteX6" fmla="*/ 1577 w 9835"/>
                    <a:gd name="connsiteY6" fmla="*/ 0 h 15132"/>
                    <a:gd name="connsiteX7" fmla="*/ 8258 w 9835"/>
                    <a:gd name="connsiteY7" fmla="*/ 0 h 15132"/>
                    <a:gd name="connsiteX8" fmla="*/ 9835 w 9835"/>
                    <a:gd name="connsiteY8" fmla="*/ 1577 h 15132"/>
                    <a:gd name="connsiteX9" fmla="*/ 9835 w 9835"/>
                    <a:gd name="connsiteY9" fmla="*/ 13555 h 15132"/>
                    <a:gd name="connsiteX10" fmla="*/ 8258 w 9835"/>
                    <a:gd name="connsiteY10" fmla="*/ 15133 h 15132"/>
                    <a:gd name="connsiteX11" fmla="*/ 8072 w 9835"/>
                    <a:gd name="connsiteY11" fmla="*/ 13555 h 15132"/>
                    <a:gd name="connsiteX12" fmla="*/ 8104 w 9835"/>
                    <a:gd name="connsiteY12" fmla="*/ 13555 h 15132"/>
                    <a:gd name="connsiteX13" fmla="*/ 8072 w 9835"/>
                    <a:gd name="connsiteY13" fmla="*/ 13555 h 15132"/>
                    <a:gd name="connsiteX14" fmla="*/ 3993 w 9835"/>
                    <a:gd name="connsiteY14" fmla="*/ 3155 h 15132"/>
                    <a:gd name="connsiteX15" fmla="*/ 6684 w 9835"/>
                    <a:gd name="connsiteY15" fmla="*/ 9281 h 15132"/>
                    <a:gd name="connsiteX16" fmla="*/ 6684 w 9835"/>
                    <a:gd name="connsiteY16" fmla="*/ 3155 h 15132"/>
                    <a:gd name="connsiteX17" fmla="*/ 3993 w 9835"/>
                    <a:gd name="connsiteY17" fmla="*/ 3155 h 151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9835" h="15132">
                      <a:moveTo>
                        <a:pt x="8258" y="15133"/>
                      </a:moveTo>
                      <a:lnTo>
                        <a:pt x="6492" y="15133"/>
                      </a:lnTo>
                      <a:cubicBezTo>
                        <a:pt x="5621" y="15133"/>
                        <a:pt x="4914" y="14426"/>
                        <a:pt x="4914" y="13555"/>
                      </a:cubicBezTo>
                      <a:cubicBezTo>
                        <a:pt x="4914" y="13189"/>
                        <a:pt x="4854" y="12924"/>
                        <a:pt x="4703" y="12622"/>
                      </a:cubicBezTo>
                      <a:lnTo>
                        <a:pt x="132" y="2215"/>
                      </a:lnTo>
                      <a:cubicBezTo>
                        <a:pt x="-80" y="1726"/>
                        <a:pt x="-35" y="1164"/>
                        <a:pt x="255" y="716"/>
                      </a:cubicBezTo>
                      <a:cubicBezTo>
                        <a:pt x="548" y="271"/>
                        <a:pt x="1043" y="0"/>
                        <a:pt x="1577" y="0"/>
                      </a:cubicBezTo>
                      <a:lnTo>
                        <a:pt x="8258" y="0"/>
                      </a:lnTo>
                      <a:cubicBezTo>
                        <a:pt x="9129" y="0"/>
                        <a:pt x="9835" y="707"/>
                        <a:pt x="9835" y="1577"/>
                      </a:cubicBezTo>
                      <a:lnTo>
                        <a:pt x="9835" y="13555"/>
                      </a:lnTo>
                      <a:cubicBezTo>
                        <a:pt x="9835" y="14426"/>
                        <a:pt x="9129" y="15133"/>
                        <a:pt x="8258" y="15133"/>
                      </a:cubicBezTo>
                      <a:close/>
                      <a:moveTo>
                        <a:pt x="8072" y="13555"/>
                      </a:moveTo>
                      <a:lnTo>
                        <a:pt x="8104" y="13555"/>
                      </a:lnTo>
                      <a:lnTo>
                        <a:pt x="8072" y="13555"/>
                      </a:lnTo>
                      <a:close/>
                      <a:moveTo>
                        <a:pt x="3993" y="3155"/>
                      </a:moveTo>
                      <a:lnTo>
                        <a:pt x="6684" y="9281"/>
                      </a:lnTo>
                      <a:lnTo>
                        <a:pt x="6684" y="3155"/>
                      </a:lnTo>
                      <a:lnTo>
                        <a:pt x="3993" y="31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" name="Freihandform: Form 52">
                  <a:extLst>
                    <a:ext uri="{FF2B5EF4-FFF2-40B4-BE49-F238E27FC236}">
                      <a16:creationId xmlns:a16="http://schemas.microsoft.com/office/drawing/2014/main" id="{C8108D6D-26F4-C472-0D89-BC7530F75D56}"/>
                    </a:ext>
                  </a:extLst>
                </p:cNvPr>
                <p:cNvSpPr/>
                <p:nvPr/>
              </p:nvSpPr>
              <p:spPr>
                <a:xfrm>
                  <a:off x="1099459" y="5197635"/>
                  <a:ext cx="11731" cy="15132"/>
                </a:xfrm>
                <a:custGeom>
                  <a:avLst/>
                  <a:gdLst>
                    <a:gd name="connsiteX0" fmla="*/ 10155 w 11731"/>
                    <a:gd name="connsiteY0" fmla="*/ 15133 h 15132"/>
                    <a:gd name="connsiteX1" fmla="*/ 1577 w 11731"/>
                    <a:gd name="connsiteY1" fmla="*/ 15133 h 15132"/>
                    <a:gd name="connsiteX2" fmla="*/ 461 w 11731"/>
                    <a:gd name="connsiteY2" fmla="*/ 14672 h 15132"/>
                    <a:gd name="connsiteX3" fmla="*/ 0 w 11731"/>
                    <a:gd name="connsiteY3" fmla="*/ 13555 h 15132"/>
                    <a:gd name="connsiteX4" fmla="*/ 0 w 11731"/>
                    <a:gd name="connsiteY4" fmla="*/ 1577 h 15132"/>
                    <a:gd name="connsiteX5" fmla="*/ 1580 w 11731"/>
                    <a:gd name="connsiteY5" fmla="*/ 0 h 15132"/>
                    <a:gd name="connsiteX6" fmla="*/ 4858 w 11731"/>
                    <a:gd name="connsiteY6" fmla="*/ 0 h 15132"/>
                    <a:gd name="connsiteX7" fmla="*/ 6300 w 11731"/>
                    <a:gd name="connsiteY7" fmla="*/ 940 h 15132"/>
                    <a:gd name="connsiteX8" fmla="*/ 11596 w 11731"/>
                    <a:gd name="connsiteY8" fmla="*/ 12918 h 15132"/>
                    <a:gd name="connsiteX9" fmla="*/ 11477 w 11731"/>
                    <a:gd name="connsiteY9" fmla="*/ 14417 h 15132"/>
                    <a:gd name="connsiteX10" fmla="*/ 10155 w 11731"/>
                    <a:gd name="connsiteY10" fmla="*/ 15133 h 15132"/>
                    <a:gd name="connsiteX11" fmla="*/ 3161 w 11731"/>
                    <a:gd name="connsiteY11" fmla="*/ 11978 h 15132"/>
                    <a:gd name="connsiteX12" fmla="*/ 7735 w 11731"/>
                    <a:gd name="connsiteY12" fmla="*/ 11978 h 15132"/>
                    <a:gd name="connsiteX13" fmla="*/ 3836 w 11731"/>
                    <a:gd name="connsiteY13" fmla="*/ 3155 h 15132"/>
                    <a:gd name="connsiteX14" fmla="*/ 3161 w 11731"/>
                    <a:gd name="connsiteY14" fmla="*/ 3155 h 15132"/>
                    <a:gd name="connsiteX15" fmla="*/ 3161 w 11731"/>
                    <a:gd name="connsiteY15" fmla="*/ 11978 h 151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1731" h="15132">
                      <a:moveTo>
                        <a:pt x="10155" y="15133"/>
                      </a:moveTo>
                      <a:lnTo>
                        <a:pt x="1577" y="15133"/>
                      </a:lnTo>
                      <a:cubicBezTo>
                        <a:pt x="1158" y="15133"/>
                        <a:pt x="757" y="14966"/>
                        <a:pt x="461" y="14672"/>
                      </a:cubicBezTo>
                      <a:cubicBezTo>
                        <a:pt x="164" y="14379"/>
                        <a:pt x="0" y="13975"/>
                        <a:pt x="0" y="13555"/>
                      </a:cubicBezTo>
                      <a:lnTo>
                        <a:pt x="0" y="1577"/>
                      </a:lnTo>
                      <a:cubicBezTo>
                        <a:pt x="0" y="707"/>
                        <a:pt x="710" y="0"/>
                        <a:pt x="1580" y="0"/>
                      </a:cubicBezTo>
                      <a:lnTo>
                        <a:pt x="4858" y="0"/>
                      </a:lnTo>
                      <a:cubicBezTo>
                        <a:pt x="5483" y="0"/>
                        <a:pt x="6047" y="369"/>
                        <a:pt x="6300" y="940"/>
                      </a:cubicBezTo>
                      <a:lnTo>
                        <a:pt x="11596" y="12918"/>
                      </a:lnTo>
                      <a:cubicBezTo>
                        <a:pt x="11811" y="13407"/>
                        <a:pt x="11770" y="13969"/>
                        <a:pt x="11477" y="14417"/>
                      </a:cubicBezTo>
                      <a:cubicBezTo>
                        <a:pt x="11186" y="14865"/>
                        <a:pt x="10688" y="15133"/>
                        <a:pt x="10155" y="15133"/>
                      </a:cubicBezTo>
                      <a:close/>
                      <a:moveTo>
                        <a:pt x="3161" y="11978"/>
                      </a:moveTo>
                      <a:lnTo>
                        <a:pt x="7735" y="11978"/>
                      </a:lnTo>
                      <a:lnTo>
                        <a:pt x="3836" y="3155"/>
                      </a:lnTo>
                      <a:lnTo>
                        <a:pt x="3161" y="3155"/>
                      </a:lnTo>
                      <a:lnTo>
                        <a:pt x="3161" y="1197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" name="Freihandform: Form 53">
                  <a:extLst>
                    <a:ext uri="{FF2B5EF4-FFF2-40B4-BE49-F238E27FC236}">
                      <a16:creationId xmlns:a16="http://schemas.microsoft.com/office/drawing/2014/main" id="{7D24EB00-1DB8-7154-33D4-26B9F5F771EA}"/>
                    </a:ext>
                  </a:extLst>
                </p:cNvPr>
                <p:cNvSpPr/>
                <p:nvPr/>
              </p:nvSpPr>
              <p:spPr>
                <a:xfrm>
                  <a:off x="1085342" y="5160681"/>
                  <a:ext cx="17776" cy="17779"/>
                </a:xfrm>
                <a:custGeom>
                  <a:avLst/>
                  <a:gdLst>
                    <a:gd name="connsiteX0" fmla="*/ 8890 w 17776"/>
                    <a:gd name="connsiteY0" fmla="*/ 17779 h 17779"/>
                    <a:gd name="connsiteX1" fmla="*/ 0 w 17776"/>
                    <a:gd name="connsiteY1" fmla="*/ 8890 h 17779"/>
                    <a:gd name="connsiteX2" fmla="*/ 8890 w 17776"/>
                    <a:gd name="connsiteY2" fmla="*/ 0 h 17779"/>
                    <a:gd name="connsiteX3" fmla="*/ 17776 w 17776"/>
                    <a:gd name="connsiteY3" fmla="*/ 8890 h 17779"/>
                    <a:gd name="connsiteX4" fmla="*/ 8890 w 17776"/>
                    <a:gd name="connsiteY4" fmla="*/ 17779 h 17779"/>
                    <a:gd name="connsiteX5" fmla="*/ 8890 w 17776"/>
                    <a:gd name="connsiteY5" fmla="*/ 3155 h 17779"/>
                    <a:gd name="connsiteX6" fmla="*/ 3155 w 17776"/>
                    <a:gd name="connsiteY6" fmla="*/ 8890 h 17779"/>
                    <a:gd name="connsiteX7" fmla="*/ 8890 w 17776"/>
                    <a:gd name="connsiteY7" fmla="*/ 14625 h 17779"/>
                    <a:gd name="connsiteX8" fmla="*/ 14622 w 17776"/>
                    <a:gd name="connsiteY8" fmla="*/ 8890 h 17779"/>
                    <a:gd name="connsiteX9" fmla="*/ 8890 w 17776"/>
                    <a:gd name="connsiteY9" fmla="*/ 3155 h 17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7776" h="17779">
                      <a:moveTo>
                        <a:pt x="8890" y="17779"/>
                      </a:moveTo>
                      <a:cubicBezTo>
                        <a:pt x="3987" y="17779"/>
                        <a:pt x="0" y="13792"/>
                        <a:pt x="0" y="8890"/>
                      </a:cubicBezTo>
                      <a:cubicBezTo>
                        <a:pt x="0" y="3987"/>
                        <a:pt x="3991" y="0"/>
                        <a:pt x="8890" y="0"/>
                      </a:cubicBezTo>
                      <a:cubicBezTo>
                        <a:pt x="13789" y="0"/>
                        <a:pt x="17776" y="3987"/>
                        <a:pt x="17776" y="8890"/>
                      </a:cubicBezTo>
                      <a:cubicBezTo>
                        <a:pt x="17776" y="13792"/>
                        <a:pt x="13789" y="17779"/>
                        <a:pt x="8890" y="17779"/>
                      </a:cubicBezTo>
                      <a:close/>
                      <a:moveTo>
                        <a:pt x="8890" y="3155"/>
                      </a:moveTo>
                      <a:cubicBezTo>
                        <a:pt x="5726" y="3155"/>
                        <a:pt x="3155" y="5726"/>
                        <a:pt x="3155" y="8890"/>
                      </a:cubicBezTo>
                      <a:cubicBezTo>
                        <a:pt x="3155" y="12054"/>
                        <a:pt x="5726" y="14625"/>
                        <a:pt x="8890" y="14625"/>
                      </a:cubicBezTo>
                      <a:cubicBezTo>
                        <a:pt x="12054" y="14625"/>
                        <a:pt x="14622" y="12054"/>
                        <a:pt x="14622" y="8890"/>
                      </a:cubicBezTo>
                      <a:cubicBezTo>
                        <a:pt x="14622" y="5726"/>
                        <a:pt x="12051" y="3155"/>
                        <a:pt x="8890" y="315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" name="Grafik 2">
                <a:extLst>
                  <a:ext uri="{FF2B5EF4-FFF2-40B4-BE49-F238E27FC236}">
                    <a16:creationId xmlns:a16="http://schemas.microsoft.com/office/drawing/2014/main" id="{CE102E33-E32C-B0C3-E664-5CCFA953DF2A}"/>
                  </a:ext>
                </a:extLst>
              </p:cNvPr>
              <p:cNvGrpSpPr/>
              <p:nvPr/>
            </p:nvGrpSpPr>
            <p:grpSpPr>
              <a:xfrm>
                <a:off x="1061657" y="5389855"/>
                <a:ext cx="77783" cy="85679"/>
                <a:chOff x="1061657" y="5377155"/>
                <a:chExt cx="77783" cy="85679"/>
              </a:xfrm>
              <a:solidFill>
                <a:srgbClr val="282D37"/>
              </a:solidFill>
            </p:grpSpPr>
            <p:sp>
              <p:nvSpPr>
                <p:cNvPr id="19" name="Freihandform: Form 18">
                  <a:extLst>
                    <a:ext uri="{FF2B5EF4-FFF2-40B4-BE49-F238E27FC236}">
                      <a16:creationId xmlns:a16="http://schemas.microsoft.com/office/drawing/2014/main" id="{BC3635BC-8AF3-A332-02C0-BEBE2BA6A119}"/>
                    </a:ext>
                  </a:extLst>
                </p:cNvPr>
                <p:cNvSpPr/>
                <p:nvPr/>
              </p:nvSpPr>
              <p:spPr>
                <a:xfrm>
                  <a:off x="1065345" y="5384486"/>
                  <a:ext cx="18609" cy="18612"/>
                </a:xfrm>
                <a:custGeom>
                  <a:avLst/>
                  <a:gdLst>
                    <a:gd name="connsiteX0" fmla="*/ 9306 w 18609"/>
                    <a:gd name="connsiteY0" fmla="*/ 18612 h 18612"/>
                    <a:gd name="connsiteX1" fmla="*/ 0 w 18609"/>
                    <a:gd name="connsiteY1" fmla="*/ 9306 h 18612"/>
                    <a:gd name="connsiteX2" fmla="*/ 9306 w 18609"/>
                    <a:gd name="connsiteY2" fmla="*/ 0 h 18612"/>
                    <a:gd name="connsiteX3" fmla="*/ 18609 w 18609"/>
                    <a:gd name="connsiteY3" fmla="*/ 9306 h 18612"/>
                    <a:gd name="connsiteX4" fmla="*/ 9306 w 18609"/>
                    <a:gd name="connsiteY4" fmla="*/ 18612 h 18612"/>
                    <a:gd name="connsiteX5" fmla="*/ 9306 w 18609"/>
                    <a:gd name="connsiteY5" fmla="*/ 3155 h 18612"/>
                    <a:gd name="connsiteX6" fmla="*/ 3155 w 18609"/>
                    <a:gd name="connsiteY6" fmla="*/ 9306 h 18612"/>
                    <a:gd name="connsiteX7" fmla="*/ 9306 w 18609"/>
                    <a:gd name="connsiteY7" fmla="*/ 15458 h 18612"/>
                    <a:gd name="connsiteX8" fmla="*/ 15454 w 18609"/>
                    <a:gd name="connsiteY8" fmla="*/ 9306 h 18612"/>
                    <a:gd name="connsiteX9" fmla="*/ 9306 w 18609"/>
                    <a:gd name="connsiteY9" fmla="*/ 3155 h 186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8609" h="18612">
                      <a:moveTo>
                        <a:pt x="9306" y="18612"/>
                      </a:moveTo>
                      <a:cubicBezTo>
                        <a:pt x="4174" y="18612"/>
                        <a:pt x="0" y="14439"/>
                        <a:pt x="0" y="9306"/>
                      </a:cubicBezTo>
                      <a:cubicBezTo>
                        <a:pt x="0" y="4174"/>
                        <a:pt x="4174" y="0"/>
                        <a:pt x="9306" y="0"/>
                      </a:cubicBezTo>
                      <a:cubicBezTo>
                        <a:pt x="14439" y="0"/>
                        <a:pt x="18609" y="4174"/>
                        <a:pt x="18609" y="9306"/>
                      </a:cubicBezTo>
                      <a:cubicBezTo>
                        <a:pt x="18609" y="14439"/>
                        <a:pt x="14436" y="18612"/>
                        <a:pt x="9306" y="18612"/>
                      </a:cubicBezTo>
                      <a:close/>
                      <a:moveTo>
                        <a:pt x="9306" y="3155"/>
                      </a:moveTo>
                      <a:cubicBezTo>
                        <a:pt x="5915" y="3155"/>
                        <a:pt x="3155" y="5915"/>
                        <a:pt x="3155" y="9306"/>
                      </a:cubicBezTo>
                      <a:cubicBezTo>
                        <a:pt x="3155" y="12697"/>
                        <a:pt x="5915" y="15458"/>
                        <a:pt x="9306" y="15458"/>
                      </a:cubicBezTo>
                      <a:cubicBezTo>
                        <a:pt x="12697" y="15458"/>
                        <a:pt x="15454" y="12697"/>
                        <a:pt x="15454" y="9306"/>
                      </a:cubicBezTo>
                      <a:cubicBezTo>
                        <a:pt x="15454" y="5915"/>
                        <a:pt x="12697" y="3155"/>
                        <a:pt x="9306" y="3155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" name="Freihandform: Form 19">
                  <a:extLst>
                    <a:ext uri="{FF2B5EF4-FFF2-40B4-BE49-F238E27FC236}">
                      <a16:creationId xmlns:a16="http://schemas.microsoft.com/office/drawing/2014/main" id="{83CF6F8E-6439-6D69-2948-2465C54FEF1B}"/>
                    </a:ext>
                  </a:extLst>
                </p:cNvPr>
                <p:cNvSpPr/>
                <p:nvPr/>
              </p:nvSpPr>
              <p:spPr>
                <a:xfrm>
                  <a:off x="1063512" y="5409406"/>
                  <a:ext cx="22237" cy="34440"/>
                </a:xfrm>
                <a:custGeom>
                  <a:avLst/>
                  <a:gdLst>
                    <a:gd name="connsiteX0" fmla="*/ 20663 w 22237"/>
                    <a:gd name="connsiteY0" fmla="*/ 34440 h 34440"/>
                    <a:gd name="connsiteX1" fmla="*/ 1578 w 22237"/>
                    <a:gd name="connsiteY1" fmla="*/ 34440 h 34440"/>
                    <a:gd name="connsiteX2" fmla="*/ 404 w 22237"/>
                    <a:gd name="connsiteY2" fmla="*/ 33917 h 34440"/>
                    <a:gd name="connsiteX3" fmla="*/ 10 w 22237"/>
                    <a:gd name="connsiteY3" fmla="*/ 32693 h 34440"/>
                    <a:gd name="connsiteX4" fmla="*/ 3398 w 22237"/>
                    <a:gd name="connsiteY4" fmla="*/ 1408 h 34440"/>
                    <a:gd name="connsiteX5" fmla="*/ 5136 w 22237"/>
                    <a:gd name="connsiteY5" fmla="*/ 11 h 34440"/>
                    <a:gd name="connsiteX6" fmla="*/ 6534 w 22237"/>
                    <a:gd name="connsiteY6" fmla="*/ 1749 h 34440"/>
                    <a:gd name="connsiteX7" fmla="*/ 3332 w 22237"/>
                    <a:gd name="connsiteY7" fmla="*/ 31286 h 34440"/>
                    <a:gd name="connsiteX8" fmla="*/ 18897 w 22237"/>
                    <a:gd name="connsiteY8" fmla="*/ 31286 h 34440"/>
                    <a:gd name="connsiteX9" fmla="*/ 15591 w 22237"/>
                    <a:gd name="connsiteY9" fmla="*/ 1755 h 34440"/>
                    <a:gd name="connsiteX10" fmla="*/ 16982 w 22237"/>
                    <a:gd name="connsiteY10" fmla="*/ 11 h 34440"/>
                    <a:gd name="connsiteX11" fmla="*/ 18726 w 22237"/>
                    <a:gd name="connsiteY11" fmla="*/ 1402 h 34440"/>
                    <a:gd name="connsiteX12" fmla="*/ 22228 w 22237"/>
                    <a:gd name="connsiteY12" fmla="*/ 32686 h 34440"/>
                    <a:gd name="connsiteX13" fmla="*/ 21837 w 22237"/>
                    <a:gd name="connsiteY13" fmla="*/ 33913 h 34440"/>
                    <a:gd name="connsiteX14" fmla="*/ 20660 w 22237"/>
                    <a:gd name="connsiteY14" fmla="*/ 34440 h 34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2237" h="34440">
                      <a:moveTo>
                        <a:pt x="20663" y="34440"/>
                      </a:moveTo>
                      <a:lnTo>
                        <a:pt x="1578" y="34440"/>
                      </a:lnTo>
                      <a:cubicBezTo>
                        <a:pt x="1130" y="34440"/>
                        <a:pt x="704" y="34248"/>
                        <a:pt x="404" y="33917"/>
                      </a:cubicBezTo>
                      <a:cubicBezTo>
                        <a:pt x="104" y="33585"/>
                        <a:pt x="-41" y="33137"/>
                        <a:pt x="10" y="32693"/>
                      </a:cubicBezTo>
                      <a:lnTo>
                        <a:pt x="3398" y="1408"/>
                      </a:lnTo>
                      <a:cubicBezTo>
                        <a:pt x="3489" y="541"/>
                        <a:pt x="4272" y="-84"/>
                        <a:pt x="5136" y="11"/>
                      </a:cubicBezTo>
                      <a:cubicBezTo>
                        <a:pt x="6000" y="102"/>
                        <a:pt x="6628" y="881"/>
                        <a:pt x="6534" y="1749"/>
                      </a:cubicBezTo>
                      <a:lnTo>
                        <a:pt x="3332" y="31286"/>
                      </a:lnTo>
                      <a:lnTo>
                        <a:pt x="18897" y="31286"/>
                      </a:lnTo>
                      <a:lnTo>
                        <a:pt x="15591" y="1755"/>
                      </a:lnTo>
                      <a:cubicBezTo>
                        <a:pt x="15496" y="891"/>
                        <a:pt x="16117" y="112"/>
                        <a:pt x="16982" y="11"/>
                      </a:cubicBezTo>
                      <a:cubicBezTo>
                        <a:pt x="17824" y="-90"/>
                        <a:pt x="18628" y="534"/>
                        <a:pt x="18726" y="1402"/>
                      </a:cubicBezTo>
                      <a:lnTo>
                        <a:pt x="22228" y="32686"/>
                      </a:lnTo>
                      <a:cubicBezTo>
                        <a:pt x="22278" y="33134"/>
                        <a:pt x="22136" y="33579"/>
                        <a:pt x="21837" y="33913"/>
                      </a:cubicBezTo>
                      <a:cubicBezTo>
                        <a:pt x="21537" y="34248"/>
                        <a:pt x="21111" y="34440"/>
                        <a:pt x="20660" y="34440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1" name="Freihandform: Form 20">
                  <a:extLst>
                    <a:ext uri="{FF2B5EF4-FFF2-40B4-BE49-F238E27FC236}">
                      <a16:creationId xmlns:a16="http://schemas.microsoft.com/office/drawing/2014/main" id="{9A69B450-995F-DA43-EB64-D671EDC1DF19}"/>
                    </a:ext>
                  </a:extLst>
                </p:cNvPr>
                <p:cNvSpPr/>
                <p:nvPr/>
              </p:nvSpPr>
              <p:spPr>
                <a:xfrm>
                  <a:off x="1061657" y="5404004"/>
                  <a:ext cx="26132" cy="32363"/>
                </a:xfrm>
                <a:custGeom>
                  <a:avLst/>
                  <a:gdLst>
                    <a:gd name="connsiteX0" fmla="*/ 21931 w 26132"/>
                    <a:gd name="connsiteY0" fmla="*/ 32360 h 32363"/>
                    <a:gd name="connsiteX1" fmla="*/ 20641 w 26132"/>
                    <a:gd name="connsiteY1" fmla="*/ 31688 h 32363"/>
                    <a:gd name="connsiteX2" fmla="*/ 21026 w 26132"/>
                    <a:gd name="connsiteY2" fmla="*/ 29493 h 32363"/>
                    <a:gd name="connsiteX3" fmla="*/ 22978 w 26132"/>
                    <a:gd name="connsiteY3" fmla="*/ 25745 h 32363"/>
                    <a:gd name="connsiteX4" fmla="*/ 22978 w 26132"/>
                    <a:gd name="connsiteY4" fmla="*/ 7732 h 32363"/>
                    <a:gd name="connsiteX5" fmla="*/ 18401 w 26132"/>
                    <a:gd name="connsiteY5" fmla="*/ 3155 h 32363"/>
                    <a:gd name="connsiteX6" fmla="*/ 7732 w 26132"/>
                    <a:gd name="connsiteY6" fmla="*/ 3155 h 32363"/>
                    <a:gd name="connsiteX7" fmla="*/ 3155 w 26132"/>
                    <a:gd name="connsiteY7" fmla="*/ 7732 h 32363"/>
                    <a:gd name="connsiteX8" fmla="*/ 3155 w 26132"/>
                    <a:gd name="connsiteY8" fmla="*/ 25745 h 32363"/>
                    <a:gd name="connsiteX9" fmla="*/ 4855 w 26132"/>
                    <a:gd name="connsiteY9" fmla="*/ 29306 h 32363"/>
                    <a:gd name="connsiteX10" fmla="*/ 5088 w 26132"/>
                    <a:gd name="connsiteY10" fmla="*/ 31524 h 32363"/>
                    <a:gd name="connsiteX11" fmla="*/ 2871 w 26132"/>
                    <a:gd name="connsiteY11" fmla="*/ 31758 h 32363"/>
                    <a:gd name="connsiteX12" fmla="*/ 0 w 26132"/>
                    <a:gd name="connsiteY12" fmla="*/ 25745 h 32363"/>
                    <a:gd name="connsiteX13" fmla="*/ 0 w 26132"/>
                    <a:gd name="connsiteY13" fmla="*/ 7732 h 32363"/>
                    <a:gd name="connsiteX14" fmla="*/ 7732 w 26132"/>
                    <a:gd name="connsiteY14" fmla="*/ 0 h 32363"/>
                    <a:gd name="connsiteX15" fmla="*/ 18401 w 26132"/>
                    <a:gd name="connsiteY15" fmla="*/ 0 h 32363"/>
                    <a:gd name="connsiteX16" fmla="*/ 26133 w 26132"/>
                    <a:gd name="connsiteY16" fmla="*/ 7732 h 32363"/>
                    <a:gd name="connsiteX17" fmla="*/ 26133 w 26132"/>
                    <a:gd name="connsiteY17" fmla="*/ 25745 h 32363"/>
                    <a:gd name="connsiteX18" fmla="*/ 22836 w 26132"/>
                    <a:gd name="connsiteY18" fmla="*/ 32076 h 32363"/>
                    <a:gd name="connsiteX19" fmla="*/ 21931 w 26132"/>
                    <a:gd name="connsiteY19" fmla="*/ 32363 h 32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132" h="32363">
                      <a:moveTo>
                        <a:pt x="21931" y="32360"/>
                      </a:moveTo>
                      <a:cubicBezTo>
                        <a:pt x="21436" y="32360"/>
                        <a:pt x="20947" y="32127"/>
                        <a:pt x="20641" y="31688"/>
                      </a:cubicBezTo>
                      <a:cubicBezTo>
                        <a:pt x="20139" y="30972"/>
                        <a:pt x="20313" y="29991"/>
                        <a:pt x="21026" y="29493"/>
                      </a:cubicBezTo>
                      <a:cubicBezTo>
                        <a:pt x="22250" y="28638"/>
                        <a:pt x="22978" y="27234"/>
                        <a:pt x="22978" y="25745"/>
                      </a:cubicBezTo>
                      <a:lnTo>
                        <a:pt x="22978" y="7732"/>
                      </a:lnTo>
                      <a:cubicBezTo>
                        <a:pt x="22978" y="5208"/>
                        <a:pt x="20925" y="3155"/>
                        <a:pt x="18401" y="3155"/>
                      </a:cubicBezTo>
                      <a:lnTo>
                        <a:pt x="7732" y="3155"/>
                      </a:lnTo>
                      <a:cubicBezTo>
                        <a:pt x="5208" y="3155"/>
                        <a:pt x="3155" y="5208"/>
                        <a:pt x="3155" y="7732"/>
                      </a:cubicBezTo>
                      <a:lnTo>
                        <a:pt x="3155" y="25745"/>
                      </a:lnTo>
                      <a:cubicBezTo>
                        <a:pt x="3155" y="27133"/>
                        <a:pt x="3773" y="28433"/>
                        <a:pt x="4855" y="29306"/>
                      </a:cubicBezTo>
                      <a:cubicBezTo>
                        <a:pt x="5533" y="29855"/>
                        <a:pt x="5637" y="30846"/>
                        <a:pt x="5088" y="31524"/>
                      </a:cubicBezTo>
                      <a:cubicBezTo>
                        <a:pt x="4540" y="32202"/>
                        <a:pt x="3549" y="32307"/>
                        <a:pt x="2871" y="31758"/>
                      </a:cubicBezTo>
                      <a:cubicBezTo>
                        <a:pt x="1047" y="30278"/>
                        <a:pt x="0" y="28089"/>
                        <a:pt x="0" y="25745"/>
                      </a:cubicBezTo>
                      <a:lnTo>
                        <a:pt x="0" y="7732"/>
                      </a:lnTo>
                      <a:cubicBezTo>
                        <a:pt x="0" y="3467"/>
                        <a:pt x="3470" y="0"/>
                        <a:pt x="7732" y="0"/>
                      </a:cubicBezTo>
                      <a:lnTo>
                        <a:pt x="18401" y="0"/>
                      </a:lnTo>
                      <a:cubicBezTo>
                        <a:pt x="22666" y="0"/>
                        <a:pt x="26133" y="3470"/>
                        <a:pt x="26133" y="7732"/>
                      </a:cubicBezTo>
                      <a:lnTo>
                        <a:pt x="26133" y="25745"/>
                      </a:lnTo>
                      <a:cubicBezTo>
                        <a:pt x="26133" y="28262"/>
                        <a:pt x="24899" y="30631"/>
                        <a:pt x="22836" y="32076"/>
                      </a:cubicBezTo>
                      <a:cubicBezTo>
                        <a:pt x="22559" y="32272"/>
                        <a:pt x="22243" y="32363"/>
                        <a:pt x="21931" y="32363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" name="Freihandform: Form 21">
                  <a:extLst>
                    <a:ext uri="{FF2B5EF4-FFF2-40B4-BE49-F238E27FC236}">
                      <a16:creationId xmlns:a16="http://schemas.microsoft.com/office/drawing/2014/main" id="{E76E3647-4221-DA11-2723-E088377A278A}"/>
                    </a:ext>
                  </a:extLst>
                </p:cNvPr>
                <p:cNvSpPr/>
                <p:nvPr/>
              </p:nvSpPr>
              <p:spPr>
                <a:xfrm>
                  <a:off x="1067276" y="5440679"/>
                  <a:ext cx="8861" cy="21517"/>
                </a:xfrm>
                <a:custGeom>
                  <a:avLst/>
                  <a:gdLst>
                    <a:gd name="connsiteX0" fmla="*/ 5707 w 8861"/>
                    <a:gd name="connsiteY0" fmla="*/ 21518 h 21517"/>
                    <a:gd name="connsiteX1" fmla="*/ 3155 w 8861"/>
                    <a:gd name="connsiteY1" fmla="*/ 21518 h 21517"/>
                    <a:gd name="connsiteX2" fmla="*/ 0 w 8861"/>
                    <a:gd name="connsiteY2" fmla="*/ 18297 h 21517"/>
                    <a:gd name="connsiteX3" fmla="*/ 0 w 8861"/>
                    <a:gd name="connsiteY3" fmla="*/ 3221 h 21517"/>
                    <a:gd name="connsiteX4" fmla="*/ 3155 w 8861"/>
                    <a:gd name="connsiteY4" fmla="*/ 0 h 21517"/>
                    <a:gd name="connsiteX5" fmla="*/ 5707 w 8861"/>
                    <a:gd name="connsiteY5" fmla="*/ 0 h 21517"/>
                    <a:gd name="connsiteX6" fmla="*/ 7284 w 8861"/>
                    <a:gd name="connsiteY6" fmla="*/ 1577 h 21517"/>
                    <a:gd name="connsiteX7" fmla="*/ 5707 w 8861"/>
                    <a:gd name="connsiteY7" fmla="*/ 3155 h 21517"/>
                    <a:gd name="connsiteX8" fmla="*/ 3155 w 8861"/>
                    <a:gd name="connsiteY8" fmla="*/ 3155 h 21517"/>
                    <a:gd name="connsiteX9" fmla="*/ 3155 w 8861"/>
                    <a:gd name="connsiteY9" fmla="*/ 18297 h 21517"/>
                    <a:gd name="connsiteX10" fmla="*/ 5707 w 8861"/>
                    <a:gd name="connsiteY10" fmla="*/ 18363 h 21517"/>
                    <a:gd name="connsiteX11" fmla="*/ 7284 w 8861"/>
                    <a:gd name="connsiteY11" fmla="*/ 16751 h 21517"/>
                    <a:gd name="connsiteX12" fmla="*/ 8861 w 8861"/>
                    <a:gd name="connsiteY12" fmla="*/ 18294 h 21517"/>
                    <a:gd name="connsiteX13" fmla="*/ 5707 w 8861"/>
                    <a:gd name="connsiteY13" fmla="*/ 21515 h 215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8861" h="21517">
                      <a:moveTo>
                        <a:pt x="5707" y="21518"/>
                      </a:moveTo>
                      <a:lnTo>
                        <a:pt x="3155" y="21518"/>
                      </a:lnTo>
                      <a:cubicBezTo>
                        <a:pt x="1413" y="21518"/>
                        <a:pt x="0" y="20073"/>
                        <a:pt x="0" y="18297"/>
                      </a:cubicBezTo>
                      <a:lnTo>
                        <a:pt x="0" y="3221"/>
                      </a:lnTo>
                      <a:cubicBezTo>
                        <a:pt x="0" y="1448"/>
                        <a:pt x="1413" y="0"/>
                        <a:pt x="3155" y="0"/>
                      </a:cubicBezTo>
                      <a:lnTo>
                        <a:pt x="5707" y="0"/>
                      </a:lnTo>
                      <a:cubicBezTo>
                        <a:pt x="6577" y="0"/>
                        <a:pt x="7284" y="707"/>
                        <a:pt x="7284" y="1577"/>
                      </a:cubicBezTo>
                      <a:cubicBezTo>
                        <a:pt x="7284" y="2448"/>
                        <a:pt x="6577" y="3155"/>
                        <a:pt x="5707" y="3155"/>
                      </a:cubicBezTo>
                      <a:lnTo>
                        <a:pt x="3155" y="3155"/>
                      </a:lnTo>
                      <a:lnTo>
                        <a:pt x="3155" y="18297"/>
                      </a:lnTo>
                      <a:lnTo>
                        <a:pt x="5707" y="18363"/>
                      </a:lnTo>
                      <a:cubicBezTo>
                        <a:pt x="5707" y="17492"/>
                        <a:pt x="6413" y="16751"/>
                        <a:pt x="7284" y="16751"/>
                      </a:cubicBezTo>
                      <a:cubicBezTo>
                        <a:pt x="8155" y="16751"/>
                        <a:pt x="8861" y="17423"/>
                        <a:pt x="8861" y="18294"/>
                      </a:cubicBezTo>
                      <a:cubicBezTo>
                        <a:pt x="8861" y="20070"/>
                        <a:pt x="7448" y="21515"/>
                        <a:pt x="5707" y="21515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" name="Freihandform: Form 22">
                  <a:extLst>
                    <a:ext uri="{FF2B5EF4-FFF2-40B4-BE49-F238E27FC236}">
                      <a16:creationId xmlns:a16="http://schemas.microsoft.com/office/drawing/2014/main" id="{6679A64D-383F-E9C1-D575-CF059E772CE2}"/>
                    </a:ext>
                  </a:extLst>
                </p:cNvPr>
                <p:cNvSpPr/>
                <p:nvPr/>
              </p:nvSpPr>
              <p:spPr>
                <a:xfrm>
                  <a:off x="1074645" y="5440698"/>
                  <a:ext cx="7520" cy="8817"/>
                </a:xfrm>
                <a:custGeom>
                  <a:avLst/>
                  <a:gdLst>
                    <a:gd name="connsiteX0" fmla="*/ 5946 w 7520"/>
                    <a:gd name="connsiteY0" fmla="*/ 8817 h 8817"/>
                    <a:gd name="connsiteX1" fmla="*/ 4369 w 7520"/>
                    <a:gd name="connsiteY1" fmla="*/ 7240 h 8817"/>
                    <a:gd name="connsiteX2" fmla="*/ 4369 w 7520"/>
                    <a:gd name="connsiteY2" fmla="*/ 3221 h 8817"/>
                    <a:gd name="connsiteX3" fmla="*/ 1577 w 7520"/>
                    <a:gd name="connsiteY3" fmla="*/ 3155 h 8817"/>
                    <a:gd name="connsiteX4" fmla="*/ 0 w 7520"/>
                    <a:gd name="connsiteY4" fmla="*/ 1577 h 8817"/>
                    <a:gd name="connsiteX5" fmla="*/ 1577 w 7520"/>
                    <a:gd name="connsiteY5" fmla="*/ 0 h 8817"/>
                    <a:gd name="connsiteX6" fmla="*/ 4275 w 7520"/>
                    <a:gd name="connsiteY6" fmla="*/ 0 h 8817"/>
                    <a:gd name="connsiteX7" fmla="*/ 7521 w 7520"/>
                    <a:gd name="connsiteY7" fmla="*/ 3221 h 8817"/>
                    <a:gd name="connsiteX8" fmla="*/ 7521 w 7520"/>
                    <a:gd name="connsiteY8" fmla="*/ 7240 h 8817"/>
                    <a:gd name="connsiteX9" fmla="*/ 5943 w 7520"/>
                    <a:gd name="connsiteY9" fmla="*/ 8817 h 8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520" h="8817">
                      <a:moveTo>
                        <a:pt x="5946" y="8817"/>
                      </a:moveTo>
                      <a:cubicBezTo>
                        <a:pt x="5076" y="8817"/>
                        <a:pt x="4369" y="8111"/>
                        <a:pt x="4369" y="7240"/>
                      </a:cubicBezTo>
                      <a:lnTo>
                        <a:pt x="4369" y="3221"/>
                      </a:lnTo>
                      <a:lnTo>
                        <a:pt x="1577" y="3155"/>
                      </a:lnTo>
                      <a:cubicBezTo>
                        <a:pt x="707" y="3155"/>
                        <a:pt x="0" y="2448"/>
                        <a:pt x="0" y="1577"/>
                      </a:cubicBezTo>
                      <a:cubicBezTo>
                        <a:pt x="0" y="707"/>
                        <a:pt x="707" y="0"/>
                        <a:pt x="1577" y="0"/>
                      </a:cubicBezTo>
                      <a:lnTo>
                        <a:pt x="4275" y="0"/>
                      </a:lnTo>
                      <a:cubicBezTo>
                        <a:pt x="6063" y="0"/>
                        <a:pt x="7521" y="1445"/>
                        <a:pt x="7521" y="3221"/>
                      </a:cubicBezTo>
                      <a:lnTo>
                        <a:pt x="7521" y="7240"/>
                      </a:lnTo>
                      <a:cubicBezTo>
                        <a:pt x="7521" y="8111"/>
                        <a:pt x="6814" y="8817"/>
                        <a:pt x="5943" y="8817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" name="Freihandform: Form 24">
                  <a:extLst>
                    <a:ext uri="{FF2B5EF4-FFF2-40B4-BE49-F238E27FC236}">
                      <a16:creationId xmlns:a16="http://schemas.microsoft.com/office/drawing/2014/main" id="{D576FED6-43CF-54FF-D100-3EB2F6B241AF}"/>
                    </a:ext>
                  </a:extLst>
                </p:cNvPr>
                <p:cNvSpPr/>
                <p:nvPr/>
              </p:nvSpPr>
              <p:spPr>
                <a:xfrm>
                  <a:off x="1072979" y="5444503"/>
                  <a:ext cx="9192" cy="17691"/>
                </a:xfrm>
                <a:custGeom>
                  <a:avLst/>
                  <a:gdLst>
                    <a:gd name="connsiteX0" fmla="*/ 5943 w 9192"/>
                    <a:gd name="connsiteY0" fmla="*/ 17691 h 17691"/>
                    <a:gd name="connsiteX1" fmla="*/ 3246 w 9192"/>
                    <a:gd name="connsiteY1" fmla="*/ 17691 h 17691"/>
                    <a:gd name="connsiteX2" fmla="*/ 0 w 9192"/>
                    <a:gd name="connsiteY2" fmla="*/ 14470 h 17691"/>
                    <a:gd name="connsiteX3" fmla="*/ 0 w 9192"/>
                    <a:gd name="connsiteY3" fmla="*/ 1577 h 17691"/>
                    <a:gd name="connsiteX4" fmla="*/ 1577 w 9192"/>
                    <a:gd name="connsiteY4" fmla="*/ 0 h 17691"/>
                    <a:gd name="connsiteX5" fmla="*/ 3155 w 9192"/>
                    <a:gd name="connsiteY5" fmla="*/ 1577 h 17691"/>
                    <a:gd name="connsiteX6" fmla="*/ 3155 w 9192"/>
                    <a:gd name="connsiteY6" fmla="*/ 14470 h 17691"/>
                    <a:gd name="connsiteX7" fmla="*/ 5946 w 9192"/>
                    <a:gd name="connsiteY7" fmla="*/ 14537 h 17691"/>
                    <a:gd name="connsiteX8" fmla="*/ 6038 w 9192"/>
                    <a:gd name="connsiteY8" fmla="*/ 7458 h 17691"/>
                    <a:gd name="connsiteX9" fmla="*/ 7615 w 9192"/>
                    <a:gd name="connsiteY9" fmla="*/ 5880 h 17691"/>
                    <a:gd name="connsiteX10" fmla="*/ 9193 w 9192"/>
                    <a:gd name="connsiteY10" fmla="*/ 7458 h 17691"/>
                    <a:gd name="connsiteX11" fmla="*/ 9193 w 9192"/>
                    <a:gd name="connsiteY11" fmla="*/ 14470 h 17691"/>
                    <a:gd name="connsiteX12" fmla="*/ 5946 w 9192"/>
                    <a:gd name="connsiteY12" fmla="*/ 17691 h 17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9192" h="17691">
                      <a:moveTo>
                        <a:pt x="5943" y="17691"/>
                      </a:moveTo>
                      <a:lnTo>
                        <a:pt x="3246" y="17691"/>
                      </a:lnTo>
                      <a:cubicBezTo>
                        <a:pt x="1457" y="17691"/>
                        <a:pt x="0" y="16246"/>
                        <a:pt x="0" y="14470"/>
                      </a:cubicBezTo>
                      <a:lnTo>
                        <a:pt x="0" y="1577"/>
                      </a:lnTo>
                      <a:cubicBezTo>
                        <a:pt x="0" y="707"/>
                        <a:pt x="707" y="0"/>
                        <a:pt x="1577" y="0"/>
                      </a:cubicBezTo>
                      <a:cubicBezTo>
                        <a:pt x="2448" y="0"/>
                        <a:pt x="3155" y="707"/>
                        <a:pt x="3155" y="1577"/>
                      </a:cubicBezTo>
                      <a:lnTo>
                        <a:pt x="3155" y="14470"/>
                      </a:lnTo>
                      <a:lnTo>
                        <a:pt x="5946" y="14537"/>
                      </a:lnTo>
                      <a:lnTo>
                        <a:pt x="6038" y="7458"/>
                      </a:lnTo>
                      <a:cubicBezTo>
                        <a:pt x="6038" y="6587"/>
                        <a:pt x="6745" y="5880"/>
                        <a:pt x="7615" y="5880"/>
                      </a:cubicBezTo>
                      <a:cubicBezTo>
                        <a:pt x="8486" y="5880"/>
                        <a:pt x="9193" y="6587"/>
                        <a:pt x="9193" y="7458"/>
                      </a:cubicBezTo>
                      <a:lnTo>
                        <a:pt x="9193" y="14470"/>
                      </a:lnTo>
                      <a:cubicBezTo>
                        <a:pt x="9193" y="16246"/>
                        <a:pt x="7735" y="17691"/>
                        <a:pt x="5946" y="17691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" name="Freihandform: Form 25">
                  <a:extLst>
                    <a:ext uri="{FF2B5EF4-FFF2-40B4-BE49-F238E27FC236}">
                      <a16:creationId xmlns:a16="http://schemas.microsoft.com/office/drawing/2014/main" id="{C9EF4458-94E4-A9DF-D4EE-0B6ED076F85B}"/>
                    </a:ext>
                  </a:extLst>
                </p:cNvPr>
                <p:cNvSpPr/>
                <p:nvPr/>
              </p:nvSpPr>
              <p:spPr>
                <a:xfrm>
                  <a:off x="1115926" y="5427887"/>
                  <a:ext cx="10038" cy="34306"/>
                </a:xfrm>
                <a:custGeom>
                  <a:avLst/>
                  <a:gdLst>
                    <a:gd name="connsiteX0" fmla="*/ 6562 w 10038"/>
                    <a:gd name="connsiteY0" fmla="*/ 34307 h 34306"/>
                    <a:gd name="connsiteX1" fmla="*/ 3480 w 10038"/>
                    <a:gd name="connsiteY1" fmla="*/ 34307 h 34306"/>
                    <a:gd name="connsiteX2" fmla="*/ 0 w 10038"/>
                    <a:gd name="connsiteY2" fmla="*/ 31086 h 34306"/>
                    <a:gd name="connsiteX3" fmla="*/ 0 w 10038"/>
                    <a:gd name="connsiteY3" fmla="*/ 1577 h 34306"/>
                    <a:gd name="connsiteX4" fmla="*/ 1577 w 10038"/>
                    <a:gd name="connsiteY4" fmla="*/ 0 h 34306"/>
                    <a:gd name="connsiteX5" fmla="*/ 3155 w 10038"/>
                    <a:gd name="connsiteY5" fmla="*/ 1577 h 34306"/>
                    <a:gd name="connsiteX6" fmla="*/ 3155 w 10038"/>
                    <a:gd name="connsiteY6" fmla="*/ 31086 h 34306"/>
                    <a:gd name="connsiteX7" fmla="*/ 3480 w 10038"/>
                    <a:gd name="connsiteY7" fmla="*/ 31152 h 34306"/>
                    <a:gd name="connsiteX8" fmla="*/ 6562 w 10038"/>
                    <a:gd name="connsiteY8" fmla="*/ 31152 h 34306"/>
                    <a:gd name="connsiteX9" fmla="*/ 6896 w 10038"/>
                    <a:gd name="connsiteY9" fmla="*/ 31029 h 34306"/>
                    <a:gd name="connsiteX10" fmla="*/ 6883 w 10038"/>
                    <a:gd name="connsiteY10" fmla="*/ 10212 h 34306"/>
                    <a:gd name="connsiteX11" fmla="*/ 8461 w 10038"/>
                    <a:gd name="connsiteY11" fmla="*/ 8634 h 34306"/>
                    <a:gd name="connsiteX12" fmla="*/ 10038 w 10038"/>
                    <a:gd name="connsiteY12" fmla="*/ 10212 h 34306"/>
                    <a:gd name="connsiteX13" fmla="*/ 10038 w 10038"/>
                    <a:gd name="connsiteY13" fmla="*/ 31083 h 34306"/>
                    <a:gd name="connsiteX14" fmla="*/ 6558 w 10038"/>
                    <a:gd name="connsiteY14" fmla="*/ 34303 h 34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0038" h="34306">
                      <a:moveTo>
                        <a:pt x="6562" y="34307"/>
                      </a:moveTo>
                      <a:lnTo>
                        <a:pt x="3480" y="34307"/>
                      </a:lnTo>
                      <a:cubicBezTo>
                        <a:pt x="1562" y="34307"/>
                        <a:pt x="0" y="32862"/>
                        <a:pt x="0" y="31086"/>
                      </a:cubicBezTo>
                      <a:lnTo>
                        <a:pt x="0" y="1577"/>
                      </a:lnTo>
                      <a:cubicBezTo>
                        <a:pt x="0" y="707"/>
                        <a:pt x="707" y="0"/>
                        <a:pt x="1577" y="0"/>
                      </a:cubicBezTo>
                      <a:cubicBezTo>
                        <a:pt x="2448" y="0"/>
                        <a:pt x="3155" y="707"/>
                        <a:pt x="3155" y="1577"/>
                      </a:cubicBezTo>
                      <a:lnTo>
                        <a:pt x="3155" y="31086"/>
                      </a:lnTo>
                      <a:cubicBezTo>
                        <a:pt x="3161" y="31060"/>
                        <a:pt x="3281" y="31152"/>
                        <a:pt x="3480" y="31152"/>
                      </a:cubicBezTo>
                      <a:lnTo>
                        <a:pt x="6562" y="31152"/>
                      </a:lnTo>
                      <a:cubicBezTo>
                        <a:pt x="6760" y="31152"/>
                        <a:pt x="6877" y="31064"/>
                        <a:pt x="6896" y="31029"/>
                      </a:cubicBezTo>
                      <a:lnTo>
                        <a:pt x="6883" y="10212"/>
                      </a:lnTo>
                      <a:cubicBezTo>
                        <a:pt x="6883" y="9341"/>
                        <a:pt x="7590" y="8634"/>
                        <a:pt x="8461" y="8634"/>
                      </a:cubicBezTo>
                      <a:cubicBezTo>
                        <a:pt x="9331" y="8634"/>
                        <a:pt x="10038" y="9341"/>
                        <a:pt x="10038" y="10212"/>
                      </a:cubicBezTo>
                      <a:lnTo>
                        <a:pt x="10038" y="31083"/>
                      </a:lnTo>
                      <a:cubicBezTo>
                        <a:pt x="10038" y="32859"/>
                        <a:pt x="8480" y="34303"/>
                        <a:pt x="6558" y="34303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" name="Freihandform: Form 26">
                  <a:extLst>
                    <a:ext uri="{FF2B5EF4-FFF2-40B4-BE49-F238E27FC236}">
                      <a16:creationId xmlns:a16="http://schemas.microsoft.com/office/drawing/2014/main" id="{337907A4-C389-99F6-D701-C0EEEF3A27E5}"/>
                    </a:ext>
                  </a:extLst>
                </p:cNvPr>
                <p:cNvSpPr/>
                <p:nvPr/>
              </p:nvSpPr>
              <p:spPr>
                <a:xfrm>
                  <a:off x="1122803" y="5427891"/>
                  <a:ext cx="10435" cy="34306"/>
                </a:xfrm>
                <a:custGeom>
                  <a:avLst/>
                  <a:gdLst>
                    <a:gd name="connsiteX0" fmla="*/ 6846 w 10435"/>
                    <a:gd name="connsiteY0" fmla="*/ 34307 h 34306"/>
                    <a:gd name="connsiteX1" fmla="*/ 3590 w 10435"/>
                    <a:gd name="connsiteY1" fmla="*/ 34307 h 34306"/>
                    <a:gd name="connsiteX2" fmla="*/ 0 w 10435"/>
                    <a:gd name="connsiteY2" fmla="*/ 31086 h 34306"/>
                    <a:gd name="connsiteX3" fmla="*/ 1577 w 10435"/>
                    <a:gd name="connsiteY3" fmla="*/ 29508 h 34306"/>
                    <a:gd name="connsiteX4" fmla="*/ 3155 w 10435"/>
                    <a:gd name="connsiteY4" fmla="*/ 31086 h 34306"/>
                    <a:gd name="connsiteX5" fmla="*/ 3590 w 10435"/>
                    <a:gd name="connsiteY5" fmla="*/ 31152 h 34306"/>
                    <a:gd name="connsiteX6" fmla="*/ 6846 w 10435"/>
                    <a:gd name="connsiteY6" fmla="*/ 31152 h 34306"/>
                    <a:gd name="connsiteX7" fmla="*/ 7303 w 10435"/>
                    <a:gd name="connsiteY7" fmla="*/ 30994 h 34306"/>
                    <a:gd name="connsiteX8" fmla="*/ 7281 w 10435"/>
                    <a:gd name="connsiteY8" fmla="*/ 1577 h 34306"/>
                    <a:gd name="connsiteX9" fmla="*/ 8858 w 10435"/>
                    <a:gd name="connsiteY9" fmla="*/ 0 h 34306"/>
                    <a:gd name="connsiteX10" fmla="*/ 10435 w 10435"/>
                    <a:gd name="connsiteY10" fmla="*/ 1577 h 34306"/>
                    <a:gd name="connsiteX11" fmla="*/ 10435 w 10435"/>
                    <a:gd name="connsiteY11" fmla="*/ 31086 h 34306"/>
                    <a:gd name="connsiteX12" fmla="*/ 6846 w 10435"/>
                    <a:gd name="connsiteY12" fmla="*/ 34307 h 34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0435" h="34306">
                      <a:moveTo>
                        <a:pt x="6846" y="34307"/>
                      </a:moveTo>
                      <a:lnTo>
                        <a:pt x="3590" y="34307"/>
                      </a:lnTo>
                      <a:cubicBezTo>
                        <a:pt x="1612" y="34307"/>
                        <a:pt x="0" y="32862"/>
                        <a:pt x="0" y="31086"/>
                      </a:cubicBezTo>
                      <a:cubicBezTo>
                        <a:pt x="0" y="30215"/>
                        <a:pt x="707" y="29508"/>
                        <a:pt x="1577" y="29508"/>
                      </a:cubicBezTo>
                      <a:cubicBezTo>
                        <a:pt x="2448" y="29508"/>
                        <a:pt x="3155" y="30215"/>
                        <a:pt x="3155" y="31086"/>
                      </a:cubicBezTo>
                      <a:cubicBezTo>
                        <a:pt x="3155" y="31026"/>
                        <a:pt x="3328" y="31152"/>
                        <a:pt x="3590" y="31152"/>
                      </a:cubicBezTo>
                      <a:lnTo>
                        <a:pt x="6846" y="31152"/>
                      </a:lnTo>
                      <a:cubicBezTo>
                        <a:pt x="7114" y="31152"/>
                        <a:pt x="7275" y="31038"/>
                        <a:pt x="7303" y="30994"/>
                      </a:cubicBezTo>
                      <a:lnTo>
                        <a:pt x="7281" y="1577"/>
                      </a:lnTo>
                      <a:cubicBezTo>
                        <a:pt x="7281" y="707"/>
                        <a:pt x="7988" y="0"/>
                        <a:pt x="8858" y="0"/>
                      </a:cubicBezTo>
                      <a:cubicBezTo>
                        <a:pt x="9729" y="0"/>
                        <a:pt x="10435" y="707"/>
                        <a:pt x="10435" y="1577"/>
                      </a:cubicBezTo>
                      <a:lnTo>
                        <a:pt x="10435" y="31086"/>
                      </a:lnTo>
                      <a:cubicBezTo>
                        <a:pt x="10435" y="32862"/>
                        <a:pt x="8823" y="34307"/>
                        <a:pt x="6846" y="34307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" name="Freihandform: Form 27">
                  <a:extLst>
                    <a:ext uri="{FF2B5EF4-FFF2-40B4-BE49-F238E27FC236}">
                      <a16:creationId xmlns:a16="http://schemas.microsoft.com/office/drawing/2014/main" id="{2338B9B8-59CB-7252-8EE0-CB3DEAC9D6DE}"/>
                    </a:ext>
                  </a:extLst>
                </p:cNvPr>
                <p:cNvSpPr/>
                <p:nvPr/>
              </p:nvSpPr>
              <p:spPr>
                <a:xfrm>
                  <a:off x="1094715" y="5424140"/>
                  <a:ext cx="11514" cy="11514"/>
                </a:xfrm>
                <a:custGeom>
                  <a:avLst/>
                  <a:gdLst>
                    <a:gd name="connsiteX0" fmla="*/ 5757 w 11514"/>
                    <a:gd name="connsiteY0" fmla="*/ 11514 h 11514"/>
                    <a:gd name="connsiteX1" fmla="*/ 0 w 11514"/>
                    <a:gd name="connsiteY1" fmla="*/ 5757 h 11514"/>
                    <a:gd name="connsiteX2" fmla="*/ 5757 w 11514"/>
                    <a:gd name="connsiteY2" fmla="*/ 0 h 11514"/>
                    <a:gd name="connsiteX3" fmla="*/ 11514 w 11514"/>
                    <a:gd name="connsiteY3" fmla="*/ 5757 h 11514"/>
                    <a:gd name="connsiteX4" fmla="*/ 5757 w 11514"/>
                    <a:gd name="connsiteY4" fmla="*/ 11514 h 11514"/>
                    <a:gd name="connsiteX5" fmla="*/ 5757 w 11514"/>
                    <a:gd name="connsiteY5" fmla="*/ 3155 h 11514"/>
                    <a:gd name="connsiteX6" fmla="*/ 3155 w 11514"/>
                    <a:gd name="connsiteY6" fmla="*/ 5757 h 11514"/>
                    <a:gd name="connsiteX7" fmla="*/ 5757 w 11514"/>
                    <a:gd name="connsiteY7" fmla="*/ 8360 h 11514"/>
                    <a:gd name="connsiteX8" fmla="*/ 8360 w 11514"/>
                    <a:gd name="connsiteY8" fmla="*/ 5757 h 11514"/>
                    <a:gd name="connsiteX9" fmla="*/ 5757 w 11514"/>
                    <a:gd name="connsiteY9" fmla="*/ 3155 h 115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1514" h="11514">
                      <a:moveTo>
                        <a:pt x="5757" y="11514"/>
                      </a:moveTo>
                      <a:cubicBezTo>
                        <a:pt x="2580" y="11514"/>
                        <a:pt x="0" y="8934"/>
                        <a:pt x="0" y="5757"/>
                      </a:cubicBezTo>
                      <a:cubicBezTo>
                        <a:pt x="0" y="2580"/>
                        <a:pt x="2580" y="0"/>
                        <a:pt x="5757" y="0"/>
                      </a:cubicBezTo>
                      <a:cubicBezTo>
                        <a:pt x="8934" y="0"/>
                        <a:pt x="11514" y="2580"/>
                        <a:pt x="11514" y="5757"/>
                      </a:cubicBezTo>
                      <a:cubicBezTo>
                        <a:pt x="11514" y="8934"/>
                        <a:pt x="8934" y="11514"/>
                        <a:pt x="5757" y="11514"/>
                      </a:cubicBezTo>
                      <a:close/>
                      <a:moveTo>
                        <a:pt x="5757" y="3155"/>
                      </a:moveTo>
                      <a:cubicBezTo>
                        <a:pt x="4322" y="3155"/>
                        <a:pt x="3155" y="4322"/>
                        <a:pt x="3155" y="5757"/>
                      </a:cubicBezTo>
                      <a:cubicBezTo>
                        <a:pt x="3155" y="7193"/>
                        <a:pt x="4322" y="8360"/>
                        <a:pt x="5757" y="8360"/>
                      </a:cubicBezTo>
                      <a:cubicBezTo>
                        <a:pt x="7193" y="8360"/>
                        <a:pt x="8360" y="7193"/>
                        <a:pt x="8360" y="5757"/>
                      </a:cubicBezTo>
                      <a:cubicBezTo>
                        <a:pt x="8360" y="4322"/>
                        <a:pt x="7193" y="3155"/>
                        <a:pt x="5757" y="3155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" name="Freihandform: Form 28">
                  <a:extLst>
                    <a:ext uri="{FF2B5EF4-FFF2-40B4-BE49-F238E27FC236}">
                      <a16:creationId xmlns:a16="http://schemas.microsoft.com/office/drawing/2014/main" id="{A128C4FA-633C-9043-2FAE-9CB041BC48AA}"/>
                    </a:ext>
                  </a:extLst>
                </p:cNvPr>
                <p:cNvSpPr/>
                <p:nvPr/>
              </p:nvSpPr>
              <p:spPr>
                <a:xfrm>
                  <a:off x="1115611" y="5377155"/>
                  <a:ext cx="18145" cy="18145"/>
                </a:xfrm>
                <a:custGeom>
                  <a:avLst/>
                  <a:gdLst>
                    <a:gd name="connsiteX0" fmla="*/ 9073 w 18145"/>
                    <a:gd name="connsiteY0" fmla="*/ 18145 h 18145"/>
                    <a:gd name="connsiteX1" fmla="*/ 0 w 18145"/>
                    <a:gd name="connsiteY1" fmla="*/ 9073 h 18145"/>
                    <a:gd name="connsiteX2" fmla="*/ 9073 w 18145"/>
                    <a:gd name="connsiteY2" fmla="*/ 0 h 18145"/>
                    <a:gd name="connsiteX3" fmla="*/ 18145 w 18145"/>
                    <a:gd name="connsiteY3" fmla="*/ 9073 h 18145"/>
                    <a:gd name="connsiteX4" fmla="*/ 9073 w 18145"/>
                    <a:gd name="connsiteY4" fmla="*/ 18145 h 18145"/>
                    <a:gd name="connsiteX5" fmla="*/ 9073 w 18145"/>
                    <a:gd name="connsiteY5" fmla="*/ 3155 h 18145"/>
                    <a:gd name="connsiteX6" fmla="*/ 3155 w 18145"/>
                    <a:gd name="connsiteY6" fmla="*/ 9073 h 18145"/>
                    <a:gd name="connsiteX7" fmla="*/ 9073 w 18145"/>
                    <a:gd name="connsiteY7" fmla="*/ 14991 h 18145"/>
                    <a:gd name="connsiteX8" fmla="*/ 14991 w 18145"/>
                    <a:gd name="connsiteY8" fmla="*/ 9073 h 18145"/>
                    <a:gd name="connsiteX9" fmla="*/ 9073 w 18145"/>
                    <a:gd name="connsiteY9" fmla="*/ 3155 h 18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8145" h="18145">
                      <a:moveTo>
                        <a:pt x="9073" y="18145"/>
                      </a:moveTo>
                      <a:cubicBezTo>
                        <a:pt x="4069" y="18145"/>
                        <a:pt x="0" y="14076"/>
                        <a:pt x="0" y="9073"/>
                      </a:cubicBezTo>
                      <a:cubicBezTo>
                        <a:pt x="0" y="4069"/>
                        <a:pt x="4069" y="0"/>
                        <a:pt x="9073" y="0"/>
                      </a:cubicBezTo>
                      <a:cubicBezTo>
                        <a:pt x="14076" y="0"/>
                        <a:pt x="18145" y="4069"/>
                        <a:pt x="18145" y="9073"/>
                      </a:cubicBezTo>
                      <a:cubicBezTo>
                        <a:pt x="18145" y="14076"/>
                        <a:pt x="14076" y="18145"/>
                        <a:pt x="9073" y="18145"/>
                      </a:cubicBezTo>
                      <a:close/>
                      <a:moveTo>
                        <a:pt x="9073" y="3155"/>
                      </a:moveTo>
                      <a:cubicBezTo>
                        <a:pt x="5811" y="3155"/>
                        <a:pt x="3155" y="5811"/>
                        <a:pt x="3155" y="9073"/>
                      </a:cubicBezTo>
                      <a:cubicBezTo>
                        <a:pt x="3155" y="12335"/>
                        <a:pt x="5811" y="14991"/>
                        <a:pt x="9073" y="14991"/>
                      </a:cubicBezTo>
                      <a:cubicBezTo>
                        <a:pt x="12335" y="14991"/>
                        <a:pt x="14991" y="12335"/>
                        <a:pt x="14991" y="9073"/>
                      </a:cubicBezTo>
                      <a:cubicBezTo>
                        <a:pt x="14991" y="5811"/>
                        <a:pt x="12335" y="3155"/>
                        <a:pt x="9073" y="3155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" name="Freihandform: Form 29">
                  <a:extLst>
                    <a:ext uri="{FF2B5EF4-FFF2-40B4-BE49-F238E27FC236}">
                      <a16:creationId xmlns:a16="http://schemas.microsoft.com/office/drawing/2014/main" id="{BD887E27-F7A4-13D4-DCB4-8BCF7ED2F58D}"/>
                    </a:ext>
                  </a:extLst>
                </p:cNvPr>
                <p:cNvSpPr/>
                <p:nvPr/>
              </p:nvSpPr>
              <p:spPr>
                <a:xfrm>
                  <a:off x="1098976" y="5447074"/>
                  <a:ext cx="3154" cy="15498"/>
                </a:xfrm>
                <a:custGeom>
                  <a:avLst/>
                  <a:gdLst>
                    <a:gd name="connsiteX0" fmla="*/ 1577 w 3154"/>
                    <a:gd name="connsiteY0" fmla="*/ 15499 h 15498"/>
                    <a:gd name="connsiteX1" fmla="*/ 0 w 3154"/>
                    <a:gd name="connsiteY1" fmla="*/ 13921 h 15498"/>
                    <a:gd name="connsiteX2" fmla="*/ 0 w 3154"/>
                    <a:gd name="connsiteY2" fmla="*/ 1577 h 15498"/>
                    <a:gd name="connsiteX3" fmla="*/ 1577 w 3154"/>
                    <a:gd name="connsiteY3" fmla="*/ 0 h 15498"/>
                    <a:gd name="connsiteX4" fmla="*/ 3155 w 3154"/>
                    <a:gd name="connsiteY4" fmla="*/ 1577 h 15498"/>
                    <a:gd name="connsiteX5" fmla="*/ 3155 w 3154"/>
                    <a:gd name="connsiteY5" fmla="*/ 13921 h 15498"/>
                    <a:gd name="connsiteX6" fmla="*/ 1577 w 3154"/>
                    <a:gd name="connsiteY6" fmla="*/ 15499 h 15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54" h="15498">
                      <a:moveTo>
                        <a:pt x="1577" y="15499"/>
                      </a:moveTo>
                      <a:cubicBezTo>
                        <a:pt x="707" y="15499"/>
                        <a:pt x="0" y="14792"/>
                        <a:pt x="0" y="13921"/>
                      </a:cubicBezTo>
                      <a:lnTo>
                        <a:pt x="0" y="1577"/>
                      </a:lnTo>
                      <a:cubicBezTo>
                        <a:pt x="0" y="707"/>
                        <a:pt x="707" y="0"/>
                        <a:pt x="1577" y="0"/>
                      </a:cubicBezTo>
                      <a:cubicBezTo>
                        <a:pt x="2448" y="0"/>
                        <a:pt x="3155" y="707"/>
                        <a:pt x="3155" y="1577"/>
                      </a:cubicBezTo>
                      <a:lnTo>
                        <a:pt x="3155" y="13921"/>
                      </a:lnTo>
                      <a:cubicBezTo>
                        <a:pt x="3155" y="14792"/>
                        <a:pt x="2448" y="15499"/>
                        <a:pt x="1577" y="15499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1" name="Freihandform: Form 30">
                  <a:extLst>
                    <a:ext uri="{FF2B5EF4-FFF2-40B4-BE49-F238E27FC236}">
                      <a16:creationId xmlns:a16="http://schemas.microsoft.com/office/drawing/2014/main" id="{A1EAAC02-56CE-BD90-EA12-6B63D835648D}"/>
                    </a:ext>
                  </a:extLst>
                </p:cNvPr>
                <p:cNvSpPr/>
                <p:nvPr/>
              </p:nvSpPr>
              <p:spPr>
                <a:xfrm>
                  <a:off x="1087304" y="5430289"/>
                  <a:ext cx="26863" cy="32545"/>
                </a:xfrm>
                <a:custGeom>
                  <a:avLst/>
                  <a:gdLst>
                    <a:gd name="connsiteX0" fmla="*/ 16508 w 26863"/>
                    <a:gd name="connsiteY0" fmla="*/ 32542 h 32545"/>
                    <a:gd name="connsiteX1" fmla="*/ 10464 w 26863"/>
                    <a:gd name="connsiteY1" fmla="*/ 32542 h 32545"/>
                    <a:gd name="connsiteX2" fmla="*/ 7846 w 26863"/>
                    <a:gd name="connsiteY2" fmla="*/ 31473 h 32545"/>
                    <a:gd name="connsiteX3" fmla="*/ 6833 w 26863"/>
                    <a:gd name="connsiteY3" fmla="*/ 28416 h 32545"/>
                    <a:gd name="connsiteX4" fmla="*/ 6833 w 26863"/>
                    <a:gd name="connsiteY4" fmla="*/ 12580 h 32545"/>
                    <a:gd name="connsiteX5" fmla="*/ 1322 w 26863"/>
                    <a:gd name="connsiteY5" fmla="*/ 6952 h 32545"/>
                    <a:gd name="connsiteX6" fmla="*/ 991 w 26863"/>
                    <a:gd name="connsiteY6" fmla="*/ 1608 h 32545"/>
                    <a:gd name="connsiteX7" fmla="*/ 6092 w 26863"/>
                    <a:gd name="connsiteY7" fmla="*/ 1327 h 32545"/>
                    <a:gd name="connsiteX8" fmla="*/ 11136 w 26863"/>
                    <a:gd name="connsiteY8" fmla="*/ 6545 h 32545"/>
                    <a:gd name="connsiteX9" fmla="*/ 15672 w 26863"/>
                    <a:gd name="connsiteY9" fmla="*/ 6545 h 32545"/>
                    <a:gd name="connsiteX10" fmla="*/ 20130 w 26863"/>
                    <a:gd name="connsiteY10" fmla="*/ 1542 h 32545"/>
                    <a:gd name="connsiteX11" fmla="*/ 22960 w 26863"/>
                    <a:gd name="connsiteY11" fmla="*/ 15 h 32545"/>
                    <a:gd name="connsiteX12" fmla="*/ 25679 w 26863"/>
                    <a:gd name="connsiteY12" fmla="*/ 1132 h 32545"/>
                    <a:gd name="connsiteX13" fmla="*/ 26856 w 26863"/>
                    <a:gd name="connsiteY13" fmla="*/ 3942 h 32545"/>
                    <a:gd name="connsiteX14" fmla="*/ 25426 w 26863"/>
                    <a:gd name="connsiteY14" fmla="*/ 6507 h 32545"/>
                    <a:gd name="connsiteX15" fmla="*/ 20310 w 26863"/>
                    <a:gd name="connsiteY15" fmla="*/ 11996 h 32545"/>
                    <a:gd name="connsiteX16" fmla="*/ 20310 w 26863"/>
                    <a:gd name="connsiteY16" fmla="*/ 17674 h 32545"/>
                    <a:gd name="connsiteX17" fmla="*/ 18732 w 26863"/>
                    <a:gd name="connsiteY17" fmla="*/ 19252 h 32545"/>
                    <a:gd name="connsiteX18" fmla="*/ 17155 w 26863"/>
                    <a:gd name="connsiteY18" fmla="*/ 17674 h 32545"/>
                    <a:gd name="connsiteX19" fmla="*/ 17155 w 26863"/>
                    <a:gd name="connsiteY19" fmla="*/ 11375 h 32545"/>
                    <a:gd name="connsiteX20" fmla="*/ 17584 w 26863"/>
                    <a:gd name="connsiteY20" fmla="*/ 10296 h 32545"/>
                    <a:gd name="connsiteX21" fmla="*/ 23329 w 26863"/>
                    <a:gd name="connsiteY21" fmla="*/ 4170 h 32545"/>
                    <a:gd name="connsiteX22" fmla="*/ 23707 w 26863"/>
                    <a:gd name="connsiteY22" fmla="*/ 3722 h 32545"/>
                    <a:gd name="connsiteX23" fmla="*/ 23449 w 26863"/>
                    <a:gd name="connsiteY23" fmla="*/ 3362 h 32545"/>
                    <a:gd name="connsiteX24" fmla="*/ 23149 w 26863"/>
                    <a:gd name="connsiteY24" fmla="*/ 3163 h 32545"/>
                    <a:gd name="connsiteX25" fmla="*/ 23149 w 26863"/>
                    <a:gd name="connsiteY25" fmla="*/ 3163 h 32545"/>
                    <a:gd name="connsiteX26" fmla="*/ 22546 w 26863"/>
                    <a:gd name="connsiteY26" fmla="*/ 3567 h 32545"/>
                    <a:gd name="connsiteX27" fmla="*/ 17559 w 26863"/>
                    <a:gd name="connsiteY27" fmla="*/ 9173 h 32545"/>
                    <a:gd name="connsiteX28" fmla="*/ 16382 w 26863"/>
                    <a:gd name="connsiteY28" fmla="*/ 9700 h 32545"/>
                    <a:gd name="connsiteX29" fmla="*/ 10467 w 26863"/>
                    <a:gd name="connsiteY29" fmla="*/ 9700 h 32545"/>
                    <a:gd name="connsiteX30" fmla="*/ 9332 w 26863"/>
                    <a:gd name="connsiteY30" fmla="*/ 9217 h 32545"/>
                    <a:gd name="connsiteX31" fmla="*/ 4013 w 26863"/>
                    <a:gd name="connsiteY31" fmla="*/ 3687 h 32545"/>
                    <a:gd name="connsiteX32" fmla="*/ 3221 w 26863"/>
                    <a:gd name="connsiteY32" fmla="*/ 3838 h 32545"/>
                    <a:gd name="connsiteX33" fmla="*/ 3590 w 26863"/>
                    <a:gd name="connsiteY33" fmla="*/ 4759 h 32545"/>
                    <a:gd name="connsiteX34" fmla="*/ 9537 w 26863"/>
                    <a:gd name="connsiteY34" fmla="*/ 10835 h 32545"/>
                    <a:gd name="connsiteX35" fmla="*/ 9988 w 26863"/>
                    <a:gd name="connsiteY35" fmla="*/ 11939 h 32545"/>
                    <a:gd name="connsiteX36" fmla="*/ 9988 w 26863"/>
                    <a:gd name="connsiteY36" fmla="*/ 28526 h 32545"/>
                    <a:gd name="connsiteX37" fmla="*/ 10158 w 26863"/>
                    <a:gd name="connsiteY37" fmla="*/ 29325 h 32545"/>
                    <a:gd name="connsiteX38" fmla="*/ 10470 w 26863"/>
                    <a:gd name="connsiteY38" fmla="*/ 29391 h 32545"/>
                    <a:gd name="connsiteX39" fmla="*/ 16515 w 26863"/>
                    <a:gd name="connsiteY39" fmla="*/ 29391 h 32545"/>
                    <a:gd name="connsiteX40" fmla="*/ 17209 w 26863"/>
                    <a:gd name="connsiteY40" fmla="*/ 28571 h 32545"/>
                    <a:gd name="connsiteX41" fmla="*/ 17209 w 26863"/>
                    <a:gd name="connsiteY41" fmla="*/ 21624 h 32545"/>
                    <a:gd name="connsiteX42" fmla="*/ 18786 w 26863"/>
                    <a:gd name="connsiteY42" fmla="*/ 20047 h 32545"/>
                    <a:gd name="connsiteX43" fmla="*/ 20363 w 26863"/>
                    <a:gd name="connsiteY43" fmla="*/ 21624 h 32545"/>
                    <a:gd name="connsiteX44" fmla="*/ 20363 w 26863"/>
                    <a:gd name="connsiteY44" fmla="*/ 28567 h 32545"/>
                    <a:gd name="connsiteX45" fmla="*/ 19234 w 26863"/>
                    <a:gd name="connsiteY45" fmla="*/ 31476 h 32545"/>
                    <a:gd name="connsiteX46" fmla="*/ 16518 w 26863"/>
                    <a:gd name="connsiteY46" fmla="*/ 32545 h 32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</a:cxnLst>
                  <a:rect l="l" t="t" r="r" b="b"/>
                  <a:pathLst>
                    <a:path w="26863" h="32545">
                      <a:moveTo>
                        <a:pt x="16508" y="32542"/>
                      </a:moveTo>
                      <a:lnTo>
                        <a:pt x="10464" y="32542"/>
                      </a:lnTo>
                      <a:cubicBezTo>
                        <a:pt x="9123" y="32542"/>
                        <a:pt x="8300" y="31959"/>
                        <a:pt x="7846" y="31473"/>
                      </a:cubicBezTo>
                      <a:cubicBezTo>
                        <a:pt x="6761" y="30312"/>
                        <a:pt x="6811" y="28722"/>
                        <a:pt x="6833" y="28416"/>
                      </a:cubicBezTo>
                      <a:lnTo>
                        <a:pt x="6833" y="12580"/>
                      </a:lnTo>
                      <a:cubicBezTo>
                        <a:pt x="6833" y="12580"/>
                        <a:pt x="1322" y="6952"/>
                        <a:pt x="1322" y="6952"/>
                      </a:cubicBezTo>
                      <a:cubicBezTo>
                        <a:pt x="-72" y="5526"/>
                        <a:pt x="-634" y="3229"/>
                        <a:pt x="991" y="1608"/>
                      </a:cubicBezTo>
                      <a:cubicBezTo>
                        <a:pt x="2836" y="-241"/>
                        <a:pt x="5133" y="617"/>
                        <a:pt x="6092" y="1327"/>
                      </a:cubicBezTo>
                      <a:lnTo>
                        <a:pt x="11136" y="6545"/>
                      </a:lnTo>
                      <a:lnTo>
                        <a:pt x="15672" y="6545"/>
                      </a:lnTo>
                      <a:lnTo>
                        <a:pt x="20130" y="1542"/>
                      </a:lnTo>
                      <a:cubicBezTo>
                        <a:pt x="20190" y="1466"/>
                        <a:pt x="21297" y="113"/>
                        <a:pt x="22960" y="15"/>
                      </a:cubicBezTo>
                      <a:cubicBezTo>
                        <a:pt x="23628" y="-61"/>
                        <a:pt x="24676" y="128"/>
                        <a:pt x="25679" y="1132"/>
                      </a:cubicBezTo>
                      <a:cubicBezTo>
                        <a:pt x="26739" y="2192"/>
                        <a:pt x="26906" y="3245"/>
                        <a:pt x="26856" y="3942"/>
                      </a:cubicBezTo>
                      <a:cubicBezTo>
                        <a:pt x="26751" y="5438"/>
                        <a:pt x="25647" y="6343"/>
                        <a:pt x="25426" y="6507"/>
                      </a:cubicBezTo>
                      <a:lnTo>
                        <a:pt x="20310" y="11996"/>
                      </a:lnTo>
                      <a:lnTo>
                        <a:pt x="20310" y="17674"/>
                      </a:lnTo>
                      <a:cubicBezTo>
                        <a:pt x="20310" y="18545"/>
                        <a:pt x="19603" y="19252"/>
                        <a:pt x="18732" y="19252"/>
                      </a:cubicBezTo>
                      <a:cubicBezTo>
                        <a:pt x="17862" y="19252"/>
                        <a:pt x="17155" y="18545"/>
                        <a:pt x="17155" y="17674"/>
                      </a:cubicBezTo>
                      <a:lnTo>
                        <a:pt x="17155" y="11375"/>
                      </a:lnTo>
                      <a:cubicBezTo>
                        <a:pt x="17155" y="10974"/>
                        <a:pt x="17310" y="10589"/>
                        <a:pt x="17584" y="10296"/>
                      </a:cubicBezTo>
                      <a:lnTo>
                        <a:pt x="23329" y="4170"/>
                      </a:lnTo>
                      <a:cubicBezTo>
                        <a:pt x="23600" y="3927"/>
                        <a:pt x="23701" y="3778"/>
                        <a:pt x="23707" y="3722"/>
                      </a:cubicBezTo>
                      <a:cubicBezTo>
                        <a:pt x="23707" y="3693"/>
                        <a:pt x="23647" y="3561"/>
                        <a:pt x="23449" y="3362"/>
                      </a:cubicBezTo>
                      <a:cubicBezTo>
                        <a:pt x="23310" y="3223"/>
                        <a:pt x="23199" y="3163"/>
                        <a:pt x="23149" y="3163"/>
                      </a:cubicBezTo>
                      <a:lnTo>
                        <a:pt x="23149" y="3163"/>
                      </a:lnTo>
                      <a:cubicBezTo>
                        <a:pt x="22966" y="3173"/>
                        <a:pt x="22638" y="3453"/>
                        <a:pt x="22546" y="3567"/>
                      </a:cubicBezTo>
                      <a:lnTo>
                        <a:pt x="17559" y="9173"/>
                      </a:lnTo>
                      <a:cubicBezTo>
                        <a:pt x="17259" y="9507"/>
                        <a:pt x="16833" y="9700"/>
                        <a:pt x="16382" y="9700"/>
                      </a:cubicBezTo>
                      <a:lnTo>
                        <a:pt x="10467" y="9700"/>
                      </a:lnTo>
                      <a:cubicBezTo>
                        <a:pt x="10038" y="9700"/>
                        <a:pt x="9625" y="9523"/>
                        <a:pt x="9332" y="9217"/>
                      </a:cubicBezTo>
                      <a:lnTo>
                        <a:pt x="4013" y="3687"/>
                      </a:lnTo>
                      <a:cubicBezTo>
                        <a:pt x="3947" y="3681"/>
                        <a:pt x="3543" y="3510"/>
                        <a:pt x="3221" y="3838"/>
                      </a:cubicBezTo>
                      <a:cubicBezTo>
                        <a:pt x="2994" y="4065"/>
                        <a:pt x="3584" y="4750"/>
                        <a:pt x="3590" y="4759"/>
                      </a:cubicBezTo>
                      <a:lnTo>
                        <a:pt x="9537" y="10835"/>
                      </a:lnTo>
                      <a:cubicBezTo>
                        <a:pt x="9827" y="11132"/>
                        <a:pt x="9988" y="11526"/>
                        <a:pt x="9988" y="11939"/>
                      </a:cubicBezTo>
                      <a:lnTo>
                        <a:pt x="9988" y="28526"/>
                      </a:lnTo>
                      <a:cubicBezTo>
                        <a:pt x="9975" y="28851"/>
                        <a:pt x="10051" y="29211"/>
                        <a:pt x="10158" y="29325"/>
                      </a:cubicBezTo>
                      <a:cubicBezTo>
                        <a:pt x="10205" y="29375"/>
                        <a:pt x="10351" y="29391"/>
                        <a:pt x="10470" y="29391"/>
                      </a:cubicBezTo>
                      <a:lnTo>
                        <a:pt x="16515" y="29391"/>
                      </a:lnTo>
                      <a:cubicBezTo>
                        <a:pt x="16751" y="29391"/>
                        <a:pt x="17196" y="29391"/>
                        <a:pt x="17209" y="28571"/>
                      </a:cubicBezTo>
                      <a:lnTo>
                        <a:pt x="17209" y="21624"/>
                      </a:lnTo>
                      <a:cubicBezTo>
                        <a:pt x="17209" y="20753"/>
                        <a:pt x="17915" y="20047"/>
                        <a:pt x="18786" y="20047"/>
                      </a:cubicBezTo>
                      <a:cubicBezTo>
                        <a:pt x="19657" y="20047"/>
                        <a:pt x="20363" y="20753"/>
                        <a:pt x="20363" y="21624"/>
                      </a:cubicBezTo>
                      <a:lnTo>
                        <a:pt x="20363" y="28567"/>
                      </a:lnTo>
                      <a:cubicBezTo>
                        <a:pt x="20363" y="28719"/>
                        <a:pt x="20363" y="30328"/>
                        <a:pt x="19234" y="31476"/>
                      </a:cubicBezTo>
                      <a:cubicBezTo>
                        <a:pt x="18758" y="31962"/>
                        <a:pt x="17893" y="32545"/>
                        <a:pt x="16518" y="32545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" name="Freihandform: Form 31">
                  <a:extLst>
                    <a:ext uri="{FF2B5EF4-FFF2-40B4-BE49-F238E27FC236}">
                      <a16:creationId xmlns:a16="http://schemas.microsoft.com/office/drawing/2014/main" id="{61DEDD9C-F834-34D2-3B2C-12BD645BA063}"/>
                    </a:ext>
                  </a:extLst>
                </p:cNvPr>
                <p:cNvSpPr/>
                <p:nvPr/>
              </p:nvSpPr>
              <p:spPr>
                <a:xfrm>
                  <a:off x="1109964" y="5396045"/>
                  <a:ext cx="29476" cy="34634"/>
                </a:xfrm>
                <a:custGeom>
                  <a:avLst/>
                  <a:gdLst>
                    <a:gd name="connsiteX0" fmla="*/ 25754 w 29476"/>
                    <a:gd name="connsiteY0" fmla="*/ 34635 h 34634"/>
                    <a:gd name="connsiteX1" fmla="*/ 3722 w 29476"/>
                    <a:gd name="connsiteY1" fmla="*/ 34635 h 34634"/>
                    <a:gd name="connsiteX2" fmla="*/ 0 w 29476"/>
                    <a:gd name="connsiteY2" fmla="*/ 30915 h 34634"/>
                    <a:gd name="connsiteX3" fmla="*/ 0 w 29476"/>
                    <a:gd name="connsiteY3" fmla="*/ 9464 h 34634"/>
                    <a:gd name="connsiteX4" fmla="*/ 9464 w 29476"/>
                    <a:gd name="connsiteY4" fmla="*/ 0 h 34634"/>
                    <a:gd name="connsiteX5" fmla="*/ 20013 w 29476"/>
                    <a:gd name="connsiteY5" fmla="*/ 0 h 34634"/>
                    <a:gd name="connsiteX6" fmla="*/ 29477 w 29476"/>
                    <a:gd name="connsiteY6" fmla="*/ 9464 h 34634"/>
                    <a:gd name="connsiteX7" fmla="*/ 29477 w 29476"/>
                    <a:gd name="connsiteY7" fmla="*/ 30915 h 34634"/>
                    <a:gd name="connsiteX8" fmla="*/ 25754 w 29476"/>
                    <a:gd name="connsiteY8" fmla="*/ 34635 h 34634"/>
                    <a:gd name="connsiteX9" fmla="*/ 9464 w 29476"/>
                    <a:gd name="connsiteY9" fmla="*/ 3158 h 34634"/>
                    <a:gd name="connsiteX10" fmla="*/ 3155 w 29476"/>
                    <a:gd name="connsiteY10" fmla="*/ 9467 h 34634"/>
                    <a:gd name="connsiteX11" fmla="*/ 3155 w 29476"/>
                    <a:gd name="connsiteY11" fmla="*/ 30918 h 34634"/>
                    <a:gd name="connsiteX12" fmla="*/ 3722 w 29476"/>
                    <a:gd name="connsiteY12" fmla="*/ 31483 h 34634"/>
                    <a:gd name="connsiteX13" fmla="*/ 25754 w 29476"/>
                    <a:gd name="connsiteY13" fmla="*/ 31483 h 34634"/>
                    <a:gd name="connsiteX14" fmla="*/ 26322 w 29476"/>
                    <a:gd name="connsiteY14" fmla="*/ 30918 h 34634"/>
                    <a:gd name="connsiteX15" fmla="*/ 26322 w 29476"/>
                    <a:gd name="connsiteY15" fmla="*/ 9467 h 34634"/>
                    <a:gd name="connsiteX16" fmla="*/ 20013 w 29476"/>
                    <a:gd name="connsiteY16" fmla="*/ 3158 h 34634"/>
                    <a:gd name="connsiteX17" fmla="*/ 9464 w 29476"/>
                    <a:gd name="connsiteY17" fmla="*/ 3158 h 346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9476" h="34634">
                      <a:moveTo>
                        <a:pt x="25754" y="34635"/>
                      </a:moveTo>
                      <a:lnTo>
                        <a:pt x="3722" y="34635"/>
                      </a:lnTo>
                      <a:cubicBezTo>
                        <a:pt x="1672" y="34635"/>
                        <a:pt x="0" y="32969"/>
                        <a:pt x="0" y="30915"/>
                      </a:cubicBezTo>
                      <a:lnTo>
                        <a:pt x="0" y="9464"/>
                      </a:lnTo>
                      <a:cubicBezTo>
                        <a:pt x="0" y="4246"/>
                        <a:pt x="4246" y="0"/>
                        <a:pt x="9464" y="0"/>
                      </a:cubicBezTo>
                      <a:lnTo>
                        <a:pt x="20013" y="0"/>
                      </a:lnTo>
                      <a:cubicBezTo>
                        <a:pt x="25231" y="0"/>
                        <a:pt x="29477" y="4246"/>
                        <a:pt x="29477" y="9464"/>
                      </a:cubicBezTo>
                      <a:lnTo>
                        <a:pt x="29477" y="30915"/>
                      </a:lnTo>
                      <a:cubicBezTo>
                        <a:pt x="29477" y="32966"/>
                        <a:pt x="27808" y="34635"/>
                        <a:pt x="25754" y="34635"/>
                      </a:cubicBezTo>
                      <a:close/>
                      <a:moveTo>
                        <a:pt x="9464" y="3158"/>
                      </a:moveTo>
                      <a:cubicBezTo>
                        <a:pt x="5984" y="3158"/>
                        <a:pt x="3155" y="5987"/>
                        <a:pt x="3155" y="9467"/>
                      </a:cubicBezTo>
                      <a:lnTo>
                        <a:pt x="3155" y="30918"/>
                      </a:lnTo>
                      <a:cubicBezTo>
                        <a:pt x="3155" y="31231"/>
                        <a:pt x="3410" y="31483"/>
                        <a:pt x="3722" y="31483"/>
                      </a:cubicBezTo>
                      <a:lnTo>
                        <a:pt x="25754" y="31483"/>
                      </a:lnTo>
                      <a:cubicBezTo>
                        <a:pt x="26067" y="31483"/>
                        <a:pt x="26322" y="31231"/>
                        <a:pt x="26322" y="30918"/>
                      </a:cubicBezTo>
                      <a:lnTo>
                        <a:pt x="26322" y="9467"/>
                      </a:lnTo>
                      <a:cubicBezTo>
                        <a:pt x="26322" y="5987"/>
                        <a:pt x="23492" y="3158"/>
                        <a:pt x="20013" y="3158"/>
                      </a:cubicBezTo>
                      <a:lnTo>
                        <a:pt x="9464" y="3158"/>
                      </a:ln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Freihandform: Form 32">
                  <a:extLst>
                    <a:ext uri="{FF2B5EF4-FFF2-40B4-BE49-F238E27FC236}">
                      <a16:creationId xmlns:a16="http://schemas.microsoft.com/office/drawing/2014/main" id="{C41AD1A1-D4E2-3D87-AD5C-18AF861F16AE}"/>
                    </a:ext>
                  </a:extLst>
                </p:cNvPr>
                <p:cNvSpPr/>
                <p:nvPr/>
              </p:nvSpPr>
              <p:spPr>
                <a:xfrm>
                  <a:off x="1115926" y="5404748"/>
                  <a:ext cx="3154" cy="25924"/>
                </a:xfrm>
                <a:custGeom>
                  <a:avLst/>
                  <a:gdLst>
                    <a:gd name="connsiteX0" fmla="*/ 1577 w 3154"/>
                    <a:gd name="connsiteY0" fmla="*/ 25925 h 25924"/>
                    <a:gd name="connsiteX1" fmla="*/ 0 w 3154"/>
                    <a:gd name="connsiteY1" fmla="*/ 24347 h 25924"/>
                    <a:gd name="connsiteX2" fmla="*/ 0 w 3154"/>
                    <a:gd name="connsiteY2" fmla="*/ 1577 h 25924"/>
                    <a:gd name="connsiteX3" fmla="*/ 1577 w 3154"/>
                    <a:gd name="connsiteY3" fmla="*/ 0 h 25924"/>
                    <a:gd name="connsiteX4" fmla="*/ 3155 w 3154"/>
                    <a:gd name="connsiteY4" fmla="*/ 1577 h 25924"/>
                    <a:gd name="connsiteX5" fmla="*/ 3155 w 3154"/>
                    <a:gd name="connsiteY5" fmla="*/ 24347 h 25924"/>
                    <a:gd name="connsiteX6" fmla="*/ 1577 w 3154"/>
                    <a:gd name="connsiteY6" fmla="*/ 25925 h 259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54" h="25924">
                      <a:moveTo>
                        <a:pt x="1577" y="25925"/>
                      </a:moveTo>
                      <a:cubicBezTo>
                        <a:pt x="707" y="25925"/>
                        <a:pt x="0" y="25218"/>
                        <a:pt x="0" y="24347"/>
                      </a:cubicBezTo>
                      <a:lnTo>
                        <a:pt x="0" y="1577"/>
                      </a:lnTo>
                      <a:cubicBezTo>
                        <a:pt x="0" y="707"/>
                        <a:pt x="707" y="0"/>
                        <a:pt x="1577" y="0"/>
                      </a:cubicBezTo>
                      <a:cubicBezTo>
                        <a:pt x="2448" y="0"/>
                        <a:pt x="3155" y="707"/>
                        <a:pt x="3155" y="1577"/>
                      </a:cubicBezTo>
                      <a:lnTo>
                        <a:pt x="3155" y="24347"/>
                      </a:lnTo>
                      <a:cubicBezTo>
                        <a:pt x="3155" y="25218"/>
                        <a:pt x="2448" y="25925"/>
                        <a:pt x="1577" y="25925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Freihandform: Form 33">
                  <a:extLst>
                    <a:ext uri="{FF2B5EF4-FFF2-40B4-BE49-F238E27FC236}">
                      <a16:creationId xmlns:a16="http://schemas.microsoft.com/office/drawing/2014/main" id="{3DE9692E-F9A9-009F-5EFB-45F418960F67}"/>
                    </a:ext>
                  </a:extLst>
                </p:cNvPr>
                <p:cNvSpPr/>
                <p:nvPr/>
              </p:nvSpPr>
              <p:spPr>
                <a:xfrm>
                  <a:off x="1130094" y="5404748"/>
                  <a:ext cx="3154" cy="26072"/>
                </a:xfrm>
                <a:custGeom>
                  <a:avLst/>
                  <a:gdLst>
                    <a:gd name="connsiteX0" fmla="*/ 1577 w 3154"/>
                    <a:gd name="connsiteY0" fmla="*/ 26073 h 26072"/>
                    <a:gd name="connsiteX1" fmla="*/ 0 w 3154"/>
                    <a:gd name="connsiteY1" fmla="*/ 24496 h 26072"/>
                    <a:gd name="connsiteX2" fmla="*/ 0 w 3154"/>
                    <a:gd name="connsiteY2" fmla="*/ 1577 h 26072"/>
                    <a:gd name="connsiteX3" fmla="*/ 1577 w 3154"/>
                    <a:gd name="connsiteY3" fmla="*/ 0 h 26072"/>
                    <a:gd name="connsiteX4" fmla="*/ 3155 w 3154"/>
                    <a:gd name="connsiteY4" fmla="*/ 1577 h 26072"/>
                    <a:gd name="connsiteX5" fmla="*/ 3155 w 3154"/>
                    <a:gd name="connsiteY5" fmla="*/ 24496 h 26072"/>
                    <a:gd name="connsiteX6" fmla="*/ 1577 w 3154"/>
                    <a:gd name="connsiteY6" fmla="*/ 26073 h 260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54" h="26072">
                      <a:moveTo>
                        <a:pt x="1577" y="26073"/>
                      </a:moveTo>
                      <a:cubicBezTo>
                        <a:pt x="707" y="26073"/>
                        <a:pt x="0" y="25366"/>
                        <a:pt x="0" y="24496"/>
                      </a:cubicBezTo>
                      <a:lnTo>
                        <a:pt x="0" y="1577"/>
                      </a:lnTo>
                      <a:cubicBezTo>
                        <a:pt x="0" y="707"/>
                        <a:pt x="707" y="0"/>
                        <a:pt x="1577" y="0"/>
                      </a:cubicBezTo>
                      <a:cubicBezTo>
                        <a:pt x="2448" y="0"/>
                        <a:pt x="3155" y="707"/>
                        <a:pt x="3155" y="1577"/>
                      </a:cubicBezTo>
                      <a:lnTo>
                        <a:pt x="3155" y="24496"/>
                      </a:lnTo>
                      <a:cubicBezTo>
                        <a:pt x="3155" y="25366"/>
                        <a:pt x="2448" y="26073"/>
                        <a:pt x="1577" y="26073"/>
                      </a:cubicBezTo>
                      <a:close/>
                    </a:path>
                  </a:pathLst>
                </a:custGeom>
                <a:solidFill>
                  <a:srgbClr val="282D3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3" name="Titel 10">
            <a:extLst>
              <a:ext uri="{FF2B5EF4-FFF2-40B4-BE49-F238E27FC236}">
                <a16:creationId xmlns:a16="http://schemas.microsoft.com/office/drawing/2014/main" id="{131E0348-A35C-5625-AEB4-22E02C900986}"/>
              </a:ext>
            </a:extLst>
          </p:cNvPr>
          <p:cNvSpPr txBox="1">
            <a:spLocks/>
          </p:cNvSpPr>
          <p:nvPr/>
        </p:nvSpPr>
        <p:spPr>
          <a:xfrm>
            <a:off x="371474" y="296696"/>
            <a:ext cx="11820526" cy="864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latin typeface="DB Neo Office Head" pitchFamily="2" charset="0"/>
              </a:rPr>
              <a:t>S21 Berlin: Der Hauptbahnhof wird direkt an das S-Bahn-Netz in </a:t>
            </a:r>
            <a:br>
              <a:rPr lang="de-DE" dirty="0">
                <a:latin typeface="DB Neo Office Head" pitchFamily="2" charset="0"/>
              </a:rPr>
            </a:br>
            <a:r>
              <a:rPr lang="de-DE" dirty="0">
                <a:latin typeface="DB Neo Office Head" pitchFamily="2" charset="0"/>
              </a:rPr>
              <a:t>Nord-Süd-Richtung angebunden.</a:t>
            </a:r>
            <a:endParaRPr lang="en-GB" dirty="0">
              <a:latin typeface="DB Neo Office Head" pitchFamily="2" charset="0"/>
            </a:endParaRPr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D8E531FC-2368-C557-3C75-3231DA21C4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80903" y="6537600"/>
            <a:ext cx="539622" cy="216024"/>
          </a:xfrm>
        </p:spPr>
        <p:txBody>
          <a:bodyPr/>
          <a:lstStyle/>
          <a:p>
            <a:fld id="{913D9F7D-0C28-4C21-AA99-7C67E34F632A}" type="slidenum">
              <a:rPr lang="de-DE" smtClean="0">
                <a:solidFill>
                  <a:schemeClr val="tx1"/>
                </a:solidFill>
                <a:latin typeface="DB Neo Office" pitchFamily="2" charset="0"/>
              </a:rPr>
              <a:pPr/>
              <a:t>3</a:t>
            </a:fld>
            <a:endParaRPr lang="de-DE" dirty="0">
              <a:solidFill>
                <a:schemeClr val="tx1"/>
              </a:solidFill>
              <a:latin typeface="DB Neo Office" pitchFamily="2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BB98EE5-8AEE-585A-4594-1F3F44B3453A}"/>
              </a:ext>
            </a:extLst>
          </p:cNvPr>
          <p:cNvSpPr/>
          <p:nvPr/>
        </p:nvSpPr>
        <p:spPr>
          <a:xfrm>
            <a:off x="335360" y="0"/>
            <a:ext cx="1710610" cy="2776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BDCF4DE-1AA2-5F22-E884-C756821873C6}"/>
              </a:ext>
            </a:extLst>
          </p:cNvPr>
          <p:cNvSpPr/>
          <p:nvPr/>
        </p:nvSpPr>
        <p:spPr>
          <a:xfrm>
            <a:off x="10001250" y="296696"/>
            <a:ext cx="1819275" cy="4752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B0DF70AA-4002-5AF3-F4E9-3351466FAD61}"/>
              </a:ext>
            </a:extLst>
          </p:cNvPr>
          <p:cNvSpPr/>
          <p:nvPr/>
        </p:nvSpPr>
        <p:spPr>
          <a:xfrm>
            <a:off x="10012680" y="308126"/>
            <a:ext cx="1819275" cy="4752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24" name="Grafik 23" descr="Ein Bild, das Grafiken, Logo, Schrift, Symbol enthält.&#10;&#10;KI-generierte Inhalte können fehlerhaft sein.">
            <a:extLst>
              <a:ext uri="{FF2B5EF4-FFF2-40B4-BE49-F238E27FC236}">
                <a16:creationId xmlns:a16="http://schemas.microsoft.com/office/drawing/2014/main" id="{54323B77-791D-B6A0-380D-7E9FF5F7D3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7203" y="337591"/>
            <a:ext cx="649882" cy="44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526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AD8913B-4AAA-BABE-AD2C-7998EEC742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474" y="1412776"/>
            <a:ext cx="5232749" cy="5207073"/>
          </a:xfrm>
          <a:prstGeom prst="roundRect">
            <a:avLst>
              <a:gd name="adj" fmla="val 3473"/>
            </a:avLst>
          </a:prstGeom>
          <a:noFill/>
        </p:spPr>
      </p:pic>
      <p:sp>
        <p:nvSpPr>
          <p:cNvPr id="11" name="Titel 10">
            <a:extLst>
              <a:ext uri="{FF2B5EF4-FFF2-40B4-BE49-F238E27FC236}">
                <a16:creationId xmlns:a16="http://schemas.microsoft.com/office/drawing/2014/main" id="{C29900C9-7F47-4D85-BABF-94764DABA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96696"/>
            <a:ext cx="11820526" cy="864052"/>
          </a:xfrm>
        </p:spPr>
        <p:txBody>
          <a:bodyPr/>
          <a:lstStyle/>
          <a:p>
            <a:r>
              <a:rPr lang="de-DE" b="1" dirty="0">
                <a:latin typeface="DB Neo Office Head" pitchFamily="2" charset="0"/>
              </a:rPr>
              <a:t>Bauabschnitt 1: Wedding/Westhafen bis Berlin Hauptbahnhof</a:t>
            </a:r>
            <a:br>
              <a:rPr lang="de-DE" b="1" dirty="0">
                <a:latin typeface="DB Neo Office Head" pitchFamily="2" charset="0"/>
              </a:rPr>
            </a:br>
            <a:r>
              <a:rPr lang="de-DE" b="1" dirty="0">
                <a:latin typeface="DB Neo Office Head" pitchFamily="2" charset="0"/>
              </a:rPr>
              <a:t>Inbetriebnahme (Interimszustand) Frühjahr 2026</a:t>
            </a:r>
            <a:endParaRPr lang="en-GB" b="1" dirty="0">
              <a:latin typeface="DB Neo Office Head" pitchFamily="2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C059DAF-3329-7AE1-18F9-E6A63AB71A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>
                <a:solidFill>
                  <a:srgbClr val="000000"/>
                </a:solidFill>
                <a:latin typeface="DB Neo Office" pitchFamily="2" charset="0"/>
              </a:rPr>
              <a:t>4</a:t>
            </a:fld>
            <a:endParaRPr lang="de-DE" dirty="0">
              <a:solidFill>
                <a:srgbClr val="000000"/>
              </a:solidFill>
              <a:latin typeface="DB Neo Office" pitchFamily="2" charset="0"/>
            </a:endParaRP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A1F27F16-CC89-4C47-AF05-5AD84885F4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466875">
            <a:off x="5465783" y="6299359"/>
            <a:ext cx="101236" cy="98120"/>
          </a:xfrm>
          <a:prstGeom prst="rect">
            <a:avLst/>
          </a:prstGeom>
        </p:spPr>
      </p:pic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D806A5E8-D2CC-7B6D-082D-6DD3680FE944}"/>
              </a:ext>
            </a:extLst>
          </p:cNvPr>
          <p:cNvSpPr txBox="1">
            <a:spLocks/>
          </p:cNvSpPr>
          <p:nvPr/>
        </p:nvSpPr>
        <p:spPr>
          <a:xfrm>
            <a:off x="372062" y="6537600"/>
            <a:ext cx="10548843" cy="2160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latin typeface="DB Neo Office" pitchFamily="2" charset="0"/>
              </a:rPr>
              <a:t>Deutsche Bahn AG | Projekt S21 Berlin | Presse- und Fototermin | 04. Juni 2026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F8376AE-B137-1E46-D227-C7AA0C8A927B}"/>
              </a:ext>
            </a:extLst>
          </p:cNvPr>
          <p:cNvSpPr txBox="1"/>
          <p:nvPr/>
        </p:nvSpPr>
        <p:spPr>
          <a:xfrm>
            <a:off x="5800051" y="6313512"/>
            <a:ext cx="516257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6695"/>
            <a:r>
              <a:rPr lang="de-DE" sz="800" baseline="30000" dirty="0">
                <a:solidFill>
                  <a:srgbClr val="000000"/>
                </a:solidFill>
                <a:effectLst/>
                <a:latin typeface="DB Neo Office" pitchFamily="2" charset="0"/>
                <a:ea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de-DE" sz="800" dirty="0">
                <a:solidFill>
                  <a:srgbClr val="000000"/>
                </a:solidFill>
                <a:latin typeface="DB Neo Office" pitchFamily="2" charset="0"/>
                <a:ea typeface="Calibri" panose="020F0502020204030204" pitchFamily="34" charset="0"/>
                <a:cs typeface="Calibri" panose="020F0502020204030204" pitchFamily="34" charset="0"/>
              </a:rPr>
              <a:t>Für den Interimszustand </a:t>
            </a:r>
            <a:endParaRPr lang="de-DE" sz="800" dirty="0">
              <a:solidFill>
                <a:srgbClr val="000000"/>
              </a:solidFill>
              <a:effectLst/>
              <a:latin typeface="DB Neo Office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26695"/>
            <a:r>
              <a:rPr lang="de-DE" sz="800" baseline="30000" dirty="0">
                <a:solidFill>
                  <a:srgbClr val="000000"/>
                </a:solidFill>
                <a:effectLst/>
                <a:latin typeface="DB Neo Office" pitchFamily="2" charset="0"/>
                <a:ea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de-DE" sz="800" dirty="0">
                <a:solidFill>
                  <a:srgbClr val="000000"/>
                </a:solidFill>
                <a:latin typeface="DB Neo Office" pitchFamily="2" charset="0"/>
                <a:ea typeface="Calibri" panose="020F0502020204030204" pitchFamily="34" charset="0"/>
                <a:cs typeface="Calibri" panose="020F0502020204030204" pitchFamily="34" charset="0"/>
              </a:rPr>
              <a:t>Fahrgäste pro Tag für den Endzustand des ersten Bauabschnitts</a:t>
            </a:r>
            <a:r>
              <a:rPr lang="de-DE" sz="800" dirty="0">
                <a:solidFill>
                  <a:srgbClr val="000000"/>
                </a:solidFill>
                <a:effectLst/>
                <a:latin typeface="DB Neo Office" pitchFamily="2" charset="0"/>
                <a:ea typeface="Calibri" panose="020F0502020204030204" pitchFamily="34" charset="0"/>
                <a:cs typeface="Calibri" panose="020F0502020204030204" pitchFamily="34" charset="0"/>
              </a:rPr>
              <a:t> (Quelle: </a:t>
            </a:r>
            <a:r>
              <a:rPr lang="de-DE" sz="800" dirty="0">
                <a:solidFill>
                  <a:srgbClr val="000000"/>
                </a:solidFill>
                <a:latin typeface="DB Neo Office" pitchFamily="2" charset="0"/>
                <a:ea typeface="Calibri" panose="020F0502020204030204" pitchFamily="34" charset="0"/>
                <a:cs typeface="Calibri" panose="020F0502020204030204" pitchFamily="34" charset="0"/>
              </a:rPr>
              <a:t>Nahverkehrsplan Berlin mit S-Bahn-Betriebskonzept 2030 für die HVZ bzw. Eckwertprognose für 2040 von DB Analytics (2019)</a:t>
            </a:r>
            <a:r>
              <a:rPr lang="de-DE" sz="800" dirty="0">
                <a:solidFill>
                  <a:srgbClr val="000000"/>
                </a:solidFill>
                <a:effectLst/>
                <a:latin typeface="DB Neo Office" pitchFamily="2" charset="0"/>
                <a:ea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226695"/>
            <a:r>
              <a:rPr lang="de-DE" sz="800" baseline="30000" dirty="0">
                <a:solidFill>
                  <a:srgbClr val="000000"/>
                </a:solidFill>
                <a:effectLst/>
                <a:latin typeface="DB Neo Office" pitchFamily="2" charset="0"/>
                <a:ea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de-DE" sz="800" dirty="0">
                <a:solidFill>
                  <a:srgbClr val="000000"/>
                </a:solidFill>
                <a:latin typeface="DB Neo Office" pitchFamily="2" charset="0"/>
                <a:ea typeface="Calibri" panose="020F0502020204030204" pitchFamily="34" charset="0"/>
                <a:cs typeface="Calibri" panose="020F0502020204030204" pitchFamily="34" charset="0"/>
              </a:rPr>
              <a:t>Von den S-Bahnhöfen Wedding bzw. Gesundbrunnen in 3 bzw. 5 Minuten zum Hauptbahnhof</a:t>
            </a:r>
            <a:endParaRPr lang="de-DE" sz="800" dirty="0">
              <a:solidFill>
                <a:srgbClr val="000000"/>
              </a:solidFill>
              <a:effectLst/>
              <a:latin typeface="DB Neo Office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C7EF8D7-9726-069C-8B9B-4F6BDC8964FB}"/>
              </a:ext>
            </a:extLst>
          </p:cNvPr>
          <p:cNvSpPr txBox="1"/>
          <p:nvPr/>
        </p:nvSpPr>
        <p:spPr>
          <a:xfrm rot="16200000">
            <a:off x="-192864" y="5427445"/>
            <a:ext cx="1382539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Clr>
                <a:schemeClr val="accent2"/>
              </a:buClr>
            </a:pPr>
            <a:r>
              <a:rPr lang="de-DE" sz="700"/>
              <a:t>(Bild: Deutsche Bahn)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560431A-5B94-BAC8-F68D-3644ACCC5033}"/>
              </a:ext>
            </a:extLst>
          </p:cNvPr>
          <p:cNvSpPr txBox="1"/>
          <p:nvPr/>
        </p:nvSpPr>
        <p:spPr>
          <a:xfrm>
            <a:off x="5889851" y="1351860"/>
            <a:ext cx="6053120" cy="44088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550" b="1" dirty="0">
                <a:solidFill>
                  <a:srgbClr val="000000"/>
                </a:solidFill>
                <a:latin typeface="DB Neo Office" pitchFamily="2" charset="0"/>
              </a:rPr>
              <a:t>Interimszustand: </a:t>
            </a:r>
            <a:r>
              <a:rPr lang="de-DE" sz="1550" dirty="0">
                <a:solidFill>
                  <a:srgbClr val="000000"/>
                </a:solidFill>
                <a:latin typeface="DB Neo Office" pitchFamily="2" charset="0"/>
              </a:rPr>
              <a:t>vorläufige Version des ersten Bauabschnitts.</a:t>
            </a: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550" b="1" dirty="0">
                <a:solidFill>
                  <a:srgbClr val="000000"/>
                </a:solidFill>
                <a:latin typeface="DB Neo Office" pitchFamily="2" charset="0"/>
              </a:rPr>
              <a:t>Alle 10 Minuten: </a:t>
            </a:r>
            <a:r>
              <a:rPr lang="de-DE" sz="1550" dirty="0">
                <a:solidFill>
                  <a:srgbClr val="000000"/>
                </a:solidFill>
                <a:latin typeface="DB Neo Office" pitchFamily="2" charset="0"/>
              </a:rPr>
              <a:t>Direktverbindung vom Berliner Hauptbahnhof zum S-Bahn Nordring.</a:t>
            </a: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550" b="1" dirty="0">
                <a:solidFill>
                  <a:srgbClr val="000000"/>
                </a:solidFill>
                <a:latin typeface="DB Neo Office" pitchFamily="2" charset="0"/>
              </a:rPr>
              <a:t>Rund 200 S-Bahn-Fahrten pro Tag</a:t>
            </a:r>
            <a:r>
              <a:rPr lang="de-DE" sz="1550" b="1" baseline="30000" dirty="0">
                <a:solidFill>
                  <a:srgbClr val="000000"/>
                </a:solidFill>
                <a:latin typeface="DB Neo Office" pitchFamily="2" charset="0"/>
              </a:rPr>
              <a:t>1</a:t>
            </a:r>
            <a:r>
              <a:rPr lang="de-DE" sz="1550" dirty="0">
                <a:solidFill>
                  <a:srgbClr val="000000"/>
                </a:solidFill>
                <a:latin typeface="DB Neo Office" pitchFamily="2" charset="0"/>
              </a:rPr>
              <a:t>: bis zu 42.000</a:t>
            </a:r>
            <a:r>
              <a:rPr lang="de-DE" sz="1550" baseline="30000" dirty="0">
                <a:solidFill>
                  <a:srgbClr val="000000"/>
                </a:solidFill>
                <a:latin typeface="DB Neo Office" pitchFamily="2" charset="0"/>
              </a:rPr>
              <a:t>2</a:t>
            </a:r>
            <a:r>
              <a:rPr lang="de-DE" sz="1550" dirty="0">
                <a:solidFill>
                  <a:srgbClr val="000000"/>
                </a:solidFill>
                <a:latin typeface="DB Neo Office" pitchFamily="2" charset="0"/>
              </a:rPr>
              <a:t> Fahrgäste zwischen Berlin Hauptbahnhof und dem S-Bahn Nordring.</a:t>
            </a: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550" b="1" dirty="0">
                <a:solidFill>
                  <a:srgbClr val="000000"/>
                </a:solidFill>
                <a:latin typeface="DB Neo Office" pitchFamily="2" charset="0"/>
              </a:rPr>
              <a:t>3 Minuten zum Hauptbahnhof</a:t>
            </a:r>
            <a:r>
              <a:rPr lang="de-DE" sz="1550" b="1" baseline="30000" dirty="0">
                <a:solidFill>
                  <a:srgbClr val="000000"/>
                </a:solidFill>
                <a:latin typeface="DB Neo Office" pitchFamily="2" charset="0"/>
              </a:rPr>
              <a:t>3</a:t>
            </a:r>
            <a:r>
              <a:rPr lang="de-DE" sz="1550" b="1" dirty="0">
                <a:solidFill>
                  <a:srgbClr val="000000"/>
                </a:solidFill>
                <a:latin typeface="DB Neo Office" pitchFamily="2" charset="0"/>
              </a:rPr>
              <a:t>: </a:t>
            </a:r>
            <a:r>
              <a:rPr lang="de-DE" sz="1550" dirty="0">
                <a:solidFill>
                  <a:srgbClr val="000000"/>
                </a:solidFill>
                <a:latin typeface="DB Neo Office" pitchFamily="2" charset="0"/>
              </a:rPr>
              <a:t>10 Minuten schneller als mit den heutigen S-Bahnen und Straßenbahnen.</a:t>
            </a: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550" b="1" dirty="0">
                <a:solidFill>
                  <a:srgbClr val="000000"/>
                </a:solidFill>
                <a:latin typeface="DB Neo Office" pitchFamily="2" charset="0"/>
              </a:rPr>
              <a:t>Infrastruktur: 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</a:pPr>
            <a:r>
              <a:rPr lang="de-DE" sz="1550" dirty="0">
                <a:solidFill>
                  <a:srgbClr val="000000"/>
                </a:solidFill>
                <a:latin typeface="DB Neo Office" pitchFamily="2" charset="0"/>
              </a:rPr>
              <a:t>Eine Passerelle verbindet den Interimsbahnsteig mit dem Hauptbahnhof   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</a:pPr>
            <a:r>
              <a:rPr lang="de-DE" sz="1550" dirty="0">
                <a:solidFill>
                  <a:srgbClr val="000000"/>
                </a:solidFill>
                <a:latin typeface="DB Neo Office" pitchFamily="2" charset="0"/>
              </a:rPr>
              <a:t>Gesamtlänge: 3,7 Kilometer Gleise
Zwei Tunnel 475 und 190 Meter, 230 Meter Rampenbauwerk
Drei Brücken: 50 bis 250 Meter</a:t>
            </a:r>
            <a:endParaRPr lang="en-GB" sz="1550" dirty="0">
              <a:solidFill>
                <a:srgbClr val="000000"/>
              </a:solidFill>
              <a:latin typeface="DB Neo Office" pitchFamily="2" charset="0"/>
              <a:ea typeface="Calibri" panose="020F0502020204030204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AA5E3-EFAE-A417-98CE-C0515A1CB429}"/>
              </a:ext>
            </a:extLst>
          </p:cNvPr>
          <p:cNvSpPr txBox="1"/>
          <p:nvPr/>
        </p:nvSpPr>
        <p:spPr>
          <a:xfrm>
            <a:off x="902970" y="1710690"/>
            <a:ext cx="1332096" cy="138499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l">
              <a:buClr>
                <a:schemeClr val="accent2"/>
              </a:buClr>
            </a:pPr>
            <a:r>
              <a:rPr lang="de-DE" sz="900" dirty="0"/>
              <a:t>Streckenführung S15      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DBE20DED-04D9-C166-667E-EC3C8699E721}"/>
              </a:ext>
            </a:extLst>
          </p:cNvPr>
          <p:cNvSpPr/>
          <p:nvPr/>
        </p:nvSpPr>
        <p:spPr>
          <a:xfrm>
            <a:off x="2357535" y="5097780"/>
            <a:ext cx="1199981" cy="347444"/>
          </a:xfrm>
          <a:prstGeom prst="roundRect">
            <a:avLst/>
          </a:prstGeom>
          <a:solidFill>
            <a:srgbClr val="309F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ABAB82D-BF37-1002-9971-2A39CC7988C0}"/>
              </a:ext>
            </a:extLst>
          </p:cNvPr>
          <p:cNvSpPr txBox="1"/>
          <p:nvPr/>
        </p:nvSpPr>
        <p:spPr>
          <a:xfrm>
            <a:off x="2387725" y="5196889"/>
            <a:ext cx="110126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buClr>
                <a:schemeClr val="accent2"/>
              </a:buClr>
            </a:pPr>
            <a:r>
              <a:rPr lang="de-DE" sz="900" dirty="0">
                <a:solidFill>
                  <a:schemeClr val="bg1"/>
                </a:solidFill>
              </a:rPr>
              <a:t>  </a:t>
            </a:r>
            <a:r>
              <a:rPr lang="de-DE" sz="1000" dirty="0">
                <a:solidFill>
                  <a:schemeClr val="bg1"/>
                </a:solidFill>
              </a:rPr>
              <a:t>Interimsbahnhof</a:t>
            </a:r>
            <a:r>
              <a:rPr lang="de-DE" sz="9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F4CDD1FF-8043-1184-6ED2-4765EF3F7857}"/>
              </a:ext>
            </a:extLst>
          </p:cNvPr>
          <p:cNvSpPr/>
          <p:nvPr/>
        </p:nvSpPr>
        <p:spPr>
          <a:xfrm>
            <a:off x="3475275" y="3293216"/>
            <a:ext cx="1297817" cy="490114"/>
          </a:xfrm>
          <a:prstGeom prst="roundRect">
            <a:avLst/>
          </a:prstGeom>
          <a:solidFill>
            <a:srgbClr val="8CBC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622188D-9AC0-F3C8-0C45-2DDBCC571035}"/>
              </a:ext>
            </a:extLst>
          </p:cNvPr>
          <p:cNvSpPr txBox="1"/>
          <p:nvPr/>
        </p:nvSpPr>
        <p:spPr>
          <a:xfrm>
            <a:off x="3588780" y="3390919"/>
            <a:ext cx="1126912" cy="2923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buClr>
                <a:schemeClr val="accent2"/>
              </a:buClr>
            </a:pPr>
            <a:r>
              <a:rPr lang="de-DE" sz="950" dirty="0">
                <a:solidFill>
                  <a:schemeClr val="bg1"/>
                </a:solidFill>
              </a:rPr>
              <a:t>Neubau S-Bahnhof</a:t>
            </a:r>
            <a:br>
              <a:rPr lang="de-DE" sz="950" dirty="0">
                <a:solidFill>
                  <a:schemeClr val="bg1"/>
                </a:solidFill>
              </a:rPr>
            </a:br>
            <a:r>
              <a:rPr lang="de-DE" sz="950" dirty="0">
                <a:solidFill>
                  <a:schemeClr val="bg1"/>
                </a:solidFill>
              </a:rPr>
              <a:t>Perleberger Brücke 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DA9501B-B6D3-86AA-8529-7D75E30B4716}"/>
              </a:ext>
            </a:extLst>
          </p:cNvPr>
          <p:cNvSpPr/>
          <p:nvPr/>
        </p:nvSpPr>
        <p:spPr>
          <a:xfrm>
            <a:off x="335360" y="0"/>
            <a:ext cx="1710610" cy="2776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0F3E7A8-2E30-D3BF-67D2-B13698C618F5}"/>
              </a:ext>
            </a:extLst>
          </p:cNvPr>
          <p:cNvSpPr/>
          <p:nvPr/>
        </p:nvSpPr>
        <p:spPr>
          <a:xfrm>
            <a:off x="10012680" y="308126"/>
            <a:ext cx="1819275" cy="4752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17" name="Grafik 16" descr="Ein Bild, das Grafiken, Logo, Schrift, Symbol enthält.&#10;&#10;KI-generierte Inhalte können fehlerhaft sein.">
            <a:extLst>
              <a:ext uri="{FF2B5EF4-FFF2-40B4-BE49-F238E27FC236}">
                <a16:creationId xmlns:a16="http://schemas.microsoft.com/office/drawing/2014/main" id="{73C76199-C2F9-B2BD-5300-F4C5D2F2A43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7203" y="337591"/>
            <a:ext cx="649882" cy="44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8474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17A537CE-4DB3-7902-FC50-2C18F232BA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537" y="1321753"/>
            <a:ext cx="5250659" cy="5215848"/>
          </a:xfrm>
          <a:prstGeom prst="roundRect">
            <a:avLst>
              <a:gd name="adj" fmla="val 3473"/>
            </a:avLst>
          </a:prstGeom>
          <a:noFill/>
        </p:spPr>
      </p:pic>
      <p:sp>
        <p:nvSpPr>
          <p:cNvPr id="11" name="Titel 10">
            <a:extLst>
              <a:ext uri="{FF2B5EF4-FFF2-40B4-BE49-F238E27FC236}">
                <a16:creationId xmlns:a16="http://schemas.microsoft.com/office/drawing/2014/main" id="{C29900C9-7F47-4D85-BABF-94764DABA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96696"/>
            <a:ext cx="11820526" cy="864052"/>
          </a:xfrm>
        </p:spPr>
        <p:txBody>
          <a:bodyPr/>
          <a:lstStyle/>
          <a:p>
            <a:r>
              <a:rPr lang="de-DE" b="1" dirty="0">
                <a:latin typeface="DB Neo Office Head" pitchFamily="2" charset="0"/>
              </a:rPr>
              <a:t>Bauabschnitt 2: Berliner Hauptbahnhof bis Potsdamer Platz</a:t>
            </a:r>
            <a:br>
              <a:rPr lang="en-GB" b="1" dirty="0">
                <a:latin typeface="DB Neo Office Head" pitchFamily="2" charset="0"/>
              </a:rPr>
            </a:br>
            <a:r>
              <a:rPr lang="de-DE" b="1" dirty="0">
                <a:solidFill>
                  <a:srgbClr val="000000"/>
                </a:solidFill>
                <a:latin typeface="DB Neo Office Head" pitchFamily="2" charset="0"/>
              </a:rPr>
              <a:t>Das Planfeststellungsverfahren läuft.</a:t>
            </a:r>
            <a:endParaRPr lang="en-GB" b="1" dirty="0">
              <a:latin typeface="DB Neo Office Head" pitchFamily="2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C059DAF-3329-7AE1-18F9-E6A63AB71A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>
                <a:solidFill>
                  <a:srgbClr val="000000"/>
                </a:solidFill>
                <a:latin typeface="DB Neo Office" pitchFamily="2" charset="0"/>
              </a:rPr>
              <a:t>5</a:t>
            </a:fld>
            <a:endParaRPr lang="de-DE" dirty="0">
              <a:solidFill>
                <a:srgbClr val="000000"/>
              </a:solidFill>
              <a:latin typeface="DB Neo Office" pitchFamily="2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2BF2E04-32D4-2BD9-DDBF-DF1813031186}"/>
              </a:ext>
            </a:extLst>
          </p:cNvPr>
          <p:cNvSpPr txBox="1"/>
          <p:nvPr/>
        </p:nvSpPr>
        <p:spPr>
          <a:xfrm>
            <a:off x="5710568" y="1337346"/>
            <a:ext cx="6377971" cy="45012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85750" lvl="0" indent="-28575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550" b="1" dirty="0">
                <a:solidFill>
                  <a:srgbClr val="000000"/>
                </a:solidFill>
                <a:latin typeface="DB Neo Office" pitchFamily="2" charset="0"/>
                <a:ea typeface="Times New Roman" panose="02020603050405020304" pitchFamily="18" charset="0"/>
              </a:rPr>
              <a:t>Erstmals direkte S-Bahn-Verbindung </a:t>
            </a:r>
            <a:r>
              <a:rPr lang="de-DE" sz="1550" dirty="0">
                <a:solidFill>
                  <a:srgbClr val="000000"/>
                </a:solidFill>
                <a:latin typeface="DB Neo Office" pitchFamily="2" charset="0"/>
                <a:ea typeface="Times New Roman" panose="02020603050405020304" pitchFamily="18" charset="0"/>
              </a:rPr>
              <a:t>zwischen Hauptbahnhof </a:t>
            </a:r>
            <a:br>
              <a:rPr lang="de-DE" sz="1550" dirty="0">
                <a:solidFill>
                  <a:srgbClr val="000000"/>
                </a:solidFill>
                <a:latin typeface="DB Neo Office" pitchFamily="2" charset="0"/>
                <a:ea typeface="Times New Roman" panose="02020603050405020304" pitchFamily="18" charset="0"/>
              </a:rPr>
            </a:br>
            <a:r>
              <a:rPr lang="de-DE" sz="1550" dirty="0">
                <a:solidFill>
                  <a:srgbClr val="000000"/>
                </a:solidFill>
                <a:latin typeface="DB Neo Office" pitchFamily="2" charset="0"/>
                <a:ea typeface="Times New Roman" panose="02020603050405020304" pitchFamily="18" charset="0"/>
              </a:rPr>
              <a:t>und Potsdamer Platz.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550" b="1" dirty="0">
                <a:solidFill>
                  <a:srgbClr val="000000"/>
                </a:solidFill>
                <a:latin typeface="DB Neo Office" pitchFamily="2" charset="0"/>
                <a:ea typeface="Times New Roman" panose="02020603050405020304" pitchFamily="18" charset="0"/>
              </a:rPr>
              <a:t>Infrastruktur:</a:t>
            </a:r>
          </a:p>
          <a:p>
            <a:pPr marL="628650" indent="-36195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</a:pPr>
            <a:r>
              <a:rPr lang="de-DE" sz="1550" b="1" dirty="0">
                <a:solidFill>
                  <a:srgbClr val="000000"/>
                </a:solidFill>
                <a:latin typeface="DB Neo Office" pitchFamily="2" charset="0"/>
                <a:ea typeface="Times New Roman" panose="02020603050405020304" pitchFamily="18" charset="0"/>
              </a:rPr>
              <a:t>Länge 1,2 Kilometer: </a:t>
            </a:r>
            <a:r>
              <a:rPr lang="de-DE" sz="1550" dirty="0">
                <a:solidFill>
                  <a:srgbClr val="000000"/>
                </a:solidFill>
                <a:latin typeface="DB Neo Office" pitchFamily="2" charset="0"/>
                <a:ea typeface="Times New Roman" panose="02020603050405020304" pitchFamily="18" charset="0"/>
              </a:rPr>
              <a:t>komplett als Tunnel geplant (geschlossene und offene Tunnelbauweise).</a:t>
            </a:r>
          </a:p>
          <a:p>
            <a:pPr marL="628650" indent="-36195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</a:pPr>
            <a:r>
              <a:rPr lang="de-DE" sz="1550" dirty="0">
                <a:solidFill>
                  <a:srgbClr val="000000"/>
                </a:solidFill>
                <a:latin typeface="DB Neo Office" pitchFamily="2" charset="0"/>
                <a:ea typeface="Times New Roman" panose="02020603050405020304" pitchFamily="18" charset="0"/>
              </a:rPr>
              <a:t>Südlich des Hauptbahnhofs </a:t>
            </a:r>
            <a:r>
              <a:rPr lang="de-DE" sz="1550" b="1" dirty="0">
                <a:solidFill>
                  <a:srgbClr val="000000"/>
                </a:solidFill>
                <a:latin typeface="DB Neo Office" pitchFamily="2" charset="0"/>
                <a:ea typeface="Times New Roman" panose="02020603050405020304" pitchFamily="18" charset="0"/>
              </a:rPr>
              <a:t>teilt sich der Tunnel in zwei Tunnelröhren</a:t>
            </a:r>
            <a:r>
              <a:rPr lang="de-DE" sz="1550" dirty="0">
                <a:solidFill>
                  <a:srgbClr val="000000"/>
                </a:solidFill>
                <a:latin typeface="DB Neo Office" pitchFamily="2" charset="0"/>
                <a:ea typeface="Times New Roman" panose="02020603050405020304" pitchFamily="18" charset="0"/>
              </a:rPr>
              <a:t>. Die Röhren vereinen sich südlich des Reichstagsgebäudes.</a:t>
            </a:r>
          </a:p>
          <a:p>
            <a:pPr marL="628650" indent="-36195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</a:pPr>
            <a:r>
              <a:rPr lang="de-DE" sz="1550" b="1" dirty="0">
                <a:solidFill>
                  <a:srgbClr val="000000"/>
                </a:solidFill>
                <a:latin typeface="DB Neo Office" pitchFamily="2" charset="0"/>
                <a:ea typeface="Times New Roman" panose="02020603050405020304" pitchFamily="18" charset="0"/>
              </a:rPr>
              <a:t>Trasse durch das Regierungsviertel </a:t>
            </a:r>
            <a:r>
              <a:rPr lang="de-DE" sz="1550" dirty="0">
                <a:solidFill>
                  <a:srgbClr val="000000"/>
                </a:solidFill>
                <a:latin typeface="DB Neo Office" pitchFamily="2" charset="0"/>
                <a:ea typeface="Times New Roman" panose="02020603050405020304" pitchFamily="18" charset="0"/>
              </a:rPr>
              <a:t>entlang von Regierungsgebäuden.</a:t>
            </a:r>
          </a:p>
          <a:p>
            <a:pPr marL="628650" indent="-36195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</a:pPr>
            <a:r>
              <a:rPr lang="de-DE" sz="1550" b="1" dirty="0">
                <a:solidFill>
                  <a:srgbClr val="000000"/>
                </a:solidFill>
                <a:latin typeface="DB Neo Office" pitchFamily="2" charset="0"/>
                <a:ea typeface="Times New Roman" panose="02020603050405020304" pitchFamily="18" charset="0"/>
              </a:rPr>
              <a:t>Trasse parallel zu den Tunneln </a:t>
            </a:r>
            <a:r>
              <a:rPr lang="de-DE" sz="1550" dirty="0">
                <a:solidFill>
                  <a:srgbClr val="000000"/>
                </a:solidFill>
                <a:latin typeface="DB Neo Office" pitchFamily="2" charset="0"/>
                <a:ea typeface="Times New Roman" panose="02020603050405020304" pitchFamily="18" charset="0"/>
              </a:rPr>
              <a:t>des</a:t>
            </a:r>
            <a:r>
              <a:rPr lang="de-DE" sz="1550" b="1" dirty="0">
                <a:solidFill>
                  <a:srgbClr val="000000"/>
                </a:solidFill>
                <a:latin typeface="DB Neo Office" pitchFamily="2" charset="0"/>
                <a:ea typeface="Times New Roman" panose="02020603050405020304" pitchFamily="18" charset="0"/>
              </a:rPr>
              <a:t> </a:t>
            </a:r>
            <a:r>
              <a:rPr lang="de-DE" sz="1550" dirty="0">
                <a:solidFill>
                  <a:srgbClr val="000000"/>
                </a:solidFill>
                <a:latin typeface="DB Neo Office" pitchFamily="2" charset="0"/>
                <a:ea typeface="Times New Roman" panose="02020603050405020304" pitchFamily="18" charset="0"/>
              </a:rPr>
              <a:t>Regional- und Fernverkehrs und der U5.</a:t>
            </a:r>
          </a:p>
          <a:p>
            <a:pPr marL="628650" indent="-36195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</a:pPr>
            <a:r>
              <a:rPr lang="de-DE" sz="1550" b="1" dirty="0">
                <a:solidFill>
                  <a:srgbClr val="000000"/>
                </a:solidFill>
                <a:latin typeface="DB Neo Office" pitchFamily="2" charset="0"/>
                <a:ea typeface="Times New Roman" panose="02020603050405020304" pitchFamily="18" charset="0"/>
              </a:rPr>
              <a:t>Nutzung bestehender Tunnel: </a:t>
            </a:r>
            <a:r>
              <a:rPr lang="de-DE" sz="1550" dirty="0">
                <a:solidFill>
                  <a:srgbClr val="000000"/>
                </a:solidFill>
                <a:latin typeface="DB Neo Office" pitchFamily="2" charset="0"/>
                <a:ea typeface="Times New Roman" panose="02020603050405020304" pitchFamily="18" charset="0"/>
              </a:rPr>
              <a:t>400 Meter nördlich des Potsdamer Platzes schließt der neue Tunnel an ein bestehendes Tunnelbauwerk (Heuboden) aus den 1930er Jahren an.</a:t>
            </a:r>
            <a:endParaRPr lang="de-DE" sz="1550" dirty="0">
              <a:solidFill>
                <a:srgbClr val="000000"/>
              </a:solidFill>
              <a:effectLst/>
              <a:latin typeface="DB Neo Office" pitchFamily="2" charset="0"/>
              <a:ea typeface="Times New Roman" panose="02020603050405020304" pitchFamily="18" charset="0"/>
            </a:endParaRP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A1F27F16-CC89-4C47-AF05-5AD84885F4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466875">
            <a:off x="5465783" y="6299359"/>
            <a:ext cx="101236" cy="98120"/>
          </a:xfrm>
          <a:prstGeom prst="rect">
            <a:avLst/>
          </a:prstGeom>
        </p:spPr>
      </p:pic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C6EBD04-35E9-6E40-B6C0-E7A52CA637DA}"/>
              </a:ext>
            </a:extLst>
          </p:cNvPr>
          <p:cNvGrpSpPr/>
          <p:nvPr/>
        </p:nvGrpSpPr>
        <p:grpSpPr>
          <a:xfrm>
            <a:off x="406598" y="5553236"/>
            <a:ext cx="1872978" cy="842333"/>
            <a:chOff x="138696" y="5891308"/>
            <a:chExt cx="1872978" cy="842333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E2FF5A40-032B-E9F3-89BE-8828826CEFC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3536"/>
            <a:stretch/>
          </p:blipFill>
          <p:spPr>
            <a:xfrm>
              <a:off x="138696" y="5891308"/>
              <a:ext cx="1872978" cy="842333"/>
            </a:xfrm>
            <a:prstGeom prst="rect">
              <a:avLst/>
            </a:prstGeom>
          </p:spPr>
        </p:pic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651D5645-8FD1-BBA0-7FB8-3A657123C661}"/>
                </a:ext>
              </a:extLst>
            </p:cNvPr>
            <p:cNvSpPr txBox="1"/>
            <p:nvPr/>
          </p:nvSpPr>
          <p:spPr>
            <a:xfrm>
              <a:off x="563694" y="6134043"/>
              <a:ext cx="1179089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 algn="l">
                <a:buClr>
                  <a:schemeClr val="accent2"/>
                </a:buClr>
              </a:pPr>
              <a:r>
                <a:rPr lang="de-DE" sz="900" dirty="0">
                  <a:latin typeface="DB Office" panose="020B0604020202020204" pitchFamily="34" charset="0"/>
                </a:rPr>
                <a:t>S-Bahn-Linien 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3DD1A212-C8DF-9FED-2ADC-0BE8F96020A2}"/>
                </a:ext>
              </a:extLst>
            </p:cNvPr>
            <p:cNvSpPr txBox="1"/>
            <p:nvPr/>
          </p:nvSpPr>
          <p:spPr>
            <a:xfrm>
              <a:off x="573220" y="6496619"/>
              <a:ext cx="1179089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de-DE" sz="900" dirty="0">
                  <a:latin typeface="DB Office" panose="020B0604020202020204" pitchFamily="34" charset="0"/>
                </a:rPr>
                <a:t>Tunneln</a:t>
              </a: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394F507B-7AE3-5189-8AC4-41028C49E656}"/>
              </a:ext>
            </a:extLst>
          </p:cNvPr>
          <p:cNvGrpSpPr/>
          <p:nvPr/>
        </p:nvGrpSpPr>
        <p:grpSpPr>
          <a:xfrm>
            <a:off x="453487" y="1758924"/>
            <a:ext cx="140286" cy="471658"/>
            <a:chOff x="-1405265" y="6274161"/>
            <a:chExt cx="140286" cy="471658"/>
          </a:xfrm>
        </p:grpSpPr>
        <p:sp>
          <p:nvSpPr>
            <p:cNvPr id="3" name="Gleichschenkliges Dreieck 2">
              <a:extLst>
                <a:ext uri="{FF2B5EF4-FFF2-40B4-BE49-F238E27FC236}">
                  <a16:creationId xmlns:a16="http://schemas.microsoft.com/office/drawing/2014/main" id="{FF45EEBB-696B-1A14-93C1-E56769C9397A}"/>
                </a:ext>
              </a:extLst>
            </p:cNvPr>
            <p:cNvSpPr/>
            <p:nvPr/>
          </p:nvSpPr>
          <p:spPr>
            <a:xfrm>
              <a:off x="-1390980" y="6274161"/>
              <a:ext cx="126000" cy="252000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>
                <a:buClr>
                  <a:schemeClr val="accent2"/>
                </a:buClr>
              </a:pPr>
              <a:endParaRPr lang="de-DE" sz="1600" err="1">
                <a:solidFill>
                  <a:schemeClr val="tx1"/>
                </a:solidFill>
              </a:endParaRPr>
            </a:p>
          </p:txBody>
        </p:sp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DFB0322B-F0C9-94B9-85DA-98725145847A}"/>
                </a:ext>
              </a:extLst>
            </p:cNvPr>
            <p:cNvSpPr txBox="1"/>
            <p:nvPr/>
          </p:nvSpPr>
          <p:spPr>
            <a:xfrm>
              <a:off x="-1405265" y="6499598"/>
              <a:ext cx="140286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buClr>
                  <a:schemeClr val="accent2"/>
                </a:buClr>
              </a:pPr>
              <a:r>
                <a:rPr lang="de-DE" sz="1600" b="1"/>
                <a:t>N</a:t>
              </a:r>
            </a:p>
          </p:txBody>
        </p:sp>
      </p:grpSp>
      <p:sp>
        <p:nvSpPr>
          <p:cNvPr id="8" name="Rechteck 7">
            <a:extLst>
              <a:ext uri="{FF2B5EF4-FFF2-40B4-BE49-F238E27FC236}">
                <a16:creationId xmlns:a16="http://schemas.microsoft.com/office/drawing/2014/main" id="{5A60EFF8-992E-FF6D-C5F0-0EE117F4C307}"/>
              </a:ext>
            </a:extLst>
          </p:cNvPr>
          <p:cNvSpPr/>
          <p:nvPr/>
        </p:nvSpPr>
        <p:spPr>
          <a:xfrm rot="16200000">
            <a:off x="-250924" y="3492431"/>
            <a:ext cx="1313099" cy="2648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72000" bIns="72000" rtlCol="0" anchor="ctr"/>
          <a:lstStyle/>
          <a:p>
            <a:pPr>
              <a:buClr>
                <a:schemeClr val="accent2"/>
              </a:buClr>
            </a:pPr>
            <a:r>
              <a:rPr lang="de-DE" sz="700">
                <a:solidFill>
                  <a:schemeClr val="tx1"/>
                </a:solidFill>
              </a:rPr>
              <a:t>(Bild: Deutsche Bahn)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6335A5B2-7D7E-DADD-44D5-5810E1442049}"/>
              </a:ext>
            </a:extLst>
          </p:cNvPr>
          <p:cNvSpPr txBox="1">
            <a:spLocks/>
          </p:cNvSpPr>
          <p:nvPr/>
        </p:nvSpPr>
        <p:spPr>
          <a:xfrm>
            <a:off x="372062" y="6537600"/>
            <a:ext cx="10548843" cy="2160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latin typeface="DB Neo Office" pitchFamily="2" charset="0"/>
              </a:rPr>
              <a:t>Deutsche Bahn AG | Projekt S21 Berlin | Presse- und Fototermin | 04. Juni 2026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3EDC0C9-5533-A948-BEEF-1F1BBCEB1E04}"/>
              </a:ext>
            </a:extLst>
          </p:cNvPr>
          <p:cNvSpPr/>
          <p:nvPr/>
        </p:nvSpPr>
        <p:spPr>
          <a:xfrm>
            <a:off x="335360" y="0"/>
            <a:ext cx="1710610" cy="2776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73F1D8F-7345-19A0-44F3-60825CCDAD86}"/>
              </a:ext>
            </a:extLst>
          </p:cNvPr>
          <p:cNvSpPr/>
          <p:nvPr/>
        </p:nvSpPr>
        <p:spPr>
          <a:xfrm>
            <a:off x="10012680" y="308126"/>
            <a:ext cx="1819275" cy="4752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16" name="Grafik 15" descr="Ein Bild, das Grafiken, Logo, Schrift, Symbol enthält.&#10;&#10;KI-generierte Inhalte können fehlerhaft sein.">
            <a:extLst>
              <a:ext uri="{FF2B5EF4-FFF2-40B4-BE49-F238E27FC236}">
                <a16:creationId xmlns:a16="http://schemas.microsoft.com/office/drawing/2014/main" id="{860CC651-8CE0-F57F-6F5B-FC3037D03F1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7203" y="337591"/>
            <a:ext cx="649882" cy="44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8854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>
            <a:extLst>
              <a:ext uri="{FF2B5EF4-FFF2-40B4-BE49-F238E27FC236}">
                <a16:creationId xmlns:a16="http://schemas.microsoft.com/office/drawing/2014/main" id="{5527FFF5-9819-CEA1-B89B-47A328D045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402" y="1325881"/>
            <a:ext cx="5190767" cy="5211719"/>
          </a:xfrm>
          <a:prstGeom prst="roundRect">
            <a:avLst>
              <a:gd name="adj" fmla="val 3473"/>
            </a:avLst>
          </a:prstGeom>
          <a:noFill/>
        </p:spPr>
      </p:pic>
      <p:sp>
        <p:nvSpPr>
          <p:cNvPr id="11" name="Titel 10">
            <a:extLst>
              <a:ext uri="{FF2B5EF4-FFF2-40B4-BE49-F238E27FC236}">
                <a16:creationId xmlns:a16="http://schemas.microsoft.com/office/drawing/2014/main" id="{C29900C9-7F47-4D85-BABF-94764DABA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96696"/>
            <a:ext cx="11820526" cy="864052"/>
          </a:xfrm>
        </p:spPr>
        <p:txBody>
          <a:bodyPr/>
          <a:lstStyle/>
          <a:p>
            <a:r>
              <a:rPr lang="de-DE" b="1" dirty="0">
                <a:latin typeface="DB Neo Office Head" pitchFamily="2" charset="0"/>
              </a:rPr>
              <a:t>Bauabschnitt 3a:</a:t>
            </a:r>
            <a:br>
              <a:rPr lang="de-DE" b="1" dirty="0">
                <a:latin typeface="DB Neo Office Head" pitchFamily="2" charset="0"/>
              </a:rPr>
            </a:br>
            <a:r>
              <a:rPr lang="de-DE" b="1" dirty="0">
                <a:solidFill>
                  <a:srgbClr val="000000"/>
                </a:solidFill>
                <a:latin typeface="DB Neo Office Head" pitchFamily="2" charset="0"/>
              </a:rPr>
              <a:t>Potsdamer Platz bis zu den S-Bahnhöfen Yorckstraßen</a:t>
            </a:r>
            <a:endParaRPr lang="de-DE" b="1" dirty="0">
              <a:latin typeface="DB Neo Office Head" pitchFamily="2" charset="0"/>
            </a:endParaRPr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55C4858A-6D05-E91E-2A32-E8CB163B7476}"/>
              </a:ext>
            </a:extLst>
          </p:cNvPr>
          <p:cNvSpPr txBox="1">
            <a:spLocks/>
          </p:cNvSpPr>
          <p:nvPr/>
        </p:nvSpPr>
        <p:spPr>
          <a:xfrm>
            <a:off x="372062" y="6537600"/>
            <a:ext cx="10548843" cy="21602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latin typeface="DB Neo Office" pitchFamily="2" charset="0"/>
              </a:rPr>
              <a:t>Deutsche Bahn AG | Projekt S21 Berlin | Presse- und Fototermin | 04. Juni 2026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C059DAF-3329-7AE1-18F9-E6A63AB71A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>
                <a:solidFill>
                  <a:srgbClr val="000000"/>
                </a:solidFill>
                <a:latin typeface="DB Neo Office" pitchFamily="2" charset="0"/>
              </a:rPr>
              <a:t>6</a:t>
            </a:fld>
            <a:endParaRPr lang="de-DE" dirty="0">
              <a:solidFill>
                <a:srgbClr val="000000"/>
              </a:solidFill>
              <a:latin typeface="DB Neo Office" pitchFamily="2" charset="0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F8376AE-B137-1E46-D227-C7AA0C8A927B}"/>
              </a:ext>
            </a:extLst>
          </p:cNvPr>
          <p:cNvSpPr txBox="1"/>
          <p:nvPr/>
        </p:nvSpPr>
        <p:spPr>
          <a:xfrm>
            <a:off x="6096000" y="6602971"/>
            <a:ext cx="201622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2"/>
              </a:buClr>
            </a:pPr>
            <a:r>
              <a:rPr lang="de-DE" sz="900" baseline="30000" dirty="0"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de-DE" sz="900" dirty="0"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gnose Berlin 2030</a:t>
            </a:r>
            <a:endParaRPr lang="de-DE" sz="1000" dirty="0">
              <a:latin typeface="DB Neo Office" pitchFamily="2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9835E6A-9B2C-C974-2900-84E30F11A435}"/>
              </a:ext>
            </a:extLst>
          </p:cNvPr>
          <p:cNvSpPr/>
          <p:nvPr/>
        </p:nvSpPr>
        <p:spPr>
          <a:xfrm>
            <a:off x="2317538" y="3933056"/>
            <a:ext cx="292524" cy="180000"/>
          </a:xfrm>
          <a:prstGeom prst="rect">
            <a:avLst/>
          </a:prstGeom>
          <a:solidFill>
            <a:srgbClr val="CC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buClr>
                <a:schemeClr val="accent2"/>
              </a:buClr>
            </a:pPr>
            <a:r>
              <a:rPr lang="de-DE" sz="1200" b="1">
                <a:solidFill>
                  <a:schemeClr val="bg1"/>
                </a:solidFill>
              </a:rPr>
              <a:t>U2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159905E-ED14-C92C-7F08-82BA014E9DFC}"/>
              </a:ext>
            </a:extLst>
          </p:cNvPr>
          <p:cNvSpPr/>
          <p:nvPr/>
        </p:nvSpPr>
        <p:spPr>
          <a:xfrm>
            <a:off x="1983164" y="3933056"/>
            <a:ext cx="292524" cy="180000"/>
          </a:xfrm>
          <a:prstGeom prst="rect">
            <a:avLst/>
          </a:prstGeom>
          <a:solidFill>
            <a:srgbClr val="63A6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buClr>
                <a:schemeClr val="accent2"/>
              </a:buClr>
            </a:pPr>
            <a:r>
              <a:rPr lang="de-DE" sz="1200" b="1">
                <a:solidFill>
                  <a:schemeClr val="bg1"/>
                </a:solidFill>
              </a:rPr>
              <a:t>U1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924C0B8-739B-BA64-A32D-38ACA5EB3435}"/>
              </a:ext>
            </a:extLst>
          </p:cNvPr>
          <p:cNvSpPr/>
          <p:nvPr/>
        </p:nvSpPr>
        <p:spPr>
          <a:xfrm>
            <a:off x="1983164" y="4185084"/>
            <a:ext cx="292524" cy="180000"/>
          </a:xfrm>
          <a:prstGeom prst="rect">
            <a:avLst/>
          </a:prstGeom>
          <a:solidFill>
            <a:srgbClr val="33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buClr>
                <a:schemeClr val="accent2"/>
              </a:buClr>
            </a:pPr>
            <a:r>
              <a:rPr lang="de-DE" sz="1200" b="1">
                <a:solidFill>
                  <a:schemeClr val="bg1"/>
                </a:solidFill>
              </a:rPr>
              <a:t>U3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CFC4E11-4EC3-C74D-20D8-ABA3D4B3C43F}"/>
              </a:ext>
            </a:extLst>
          </p:cNvPr>
          <p:cNvSpPr/>
          <p:nvPr/>
        </p:nvSpPr>
        <p:spPr>
          <a:xfrm>
            <a:off x="2766523" y="5193196"/>
            <a:ext cx="292524" cy="180000"/>
          </a:xfrm>
          <a:prstGeom prst="rect">
            <a:avLst/>
          </a:prstGeom>
          <a:solidFill>
            <a:srgbClr val="309F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buClr>
                <a:schemeClr val="accent2"/>
              </a:buClr>
            </a:pPr>
            <a:r>
              <a:rPr lang="de-DE" sz="1200" b="1">
                <a:solidFill>
                  <a:schemeClr val="bg1"/>
                </a:solidFill>
              </a:rPr>
              <a:t>U7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C7EF8D7-9726-069C-8B9B-4F6BDC8964FB}"/>
              </a:ext>
            </a:extLst>
          </p:cNvPr>
          <p:cNvSpPr txBox="1"/>
          <p:nvPr/>
        </p:nvSpPr>
        <p:spPr>
          <a:xfrm rot="16200000">
            <a:off x="-265340" y="5509119"/>
            <a:ext cx="1382539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Clr>
                <a:schemeClr val="accent2"/>
              </a:buClr>
            </a:pPr>
            <a:r>
              <a:rPr lang="de-DE" sz="700"/>
              <a:t>(Bild: Deutsche Bahn)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C5EDC06-0500-1C07-4182-BC01502C4175}"/>
              </a:ext>
            </a:extLst>
          </p:cNvPr>
          <p:cNvSpPr/>
          <p:nvPr/>
        </p:nvSpPr>
        <p:spPr>
          <a:xfrm>
            <a:off x="2078730" y="5442119"/>
            <a:ext cx="292524" cy="180000"/>
          </a:xfrm>
          <a:prstGeom prst="rect">
            <a:avLst/>
          </a:prstGeom>
          <a:solidFill>
            <a:srgbClr val="309F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buClr>
                <a:schemeClr val="accent2"/>
              </a:buClr>
            </a:pPr>
            <a:r>
              <a:rPr lang="de-DE" sz="1200" b="1">
                <a:solidFill>
                  <a:schemeClr val="bg1"/>
                </a:solidFill>
              </a:rPr>
              <a:t>U7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F0AC4C3A-B02A-4AAA-A8DF-8A7AEEBD8587}"/>
              </a:ext>
            </a:extLst>
          </p:cNvPr>
          <p:cNvSpPr/>
          <p:nvPr/>
        </p:nvSpPr>
        <p:spPr>
          <a:xfrm>
            <a:off x="2463800" y="3149600"/>
            <a:ext cx="285750" cy="1746266"/>
          </a:xfrm>
          <a:custGeom>
            <a:avLst/>
            <a:gdLst>
              <a:gd name="connsiteX0" fmla="*/ 285750 w 285750"/>
              <a:gd name="connsiteY0" fmla="*/ 0 h 1746266"/>
              <a:gd name="connsiteX1" fmla="*/ 228600 w 285750"/>
              <a:gd name="connsiteY1" fmla="*/ 107950 h 1746266"/>
              <a:gd name="connsiteX2" fmla="*/ 184150 w 285750"/>
              <a:gd name="connsiteY2" fmla="*/ 184150 h 1746266"/>
              <a:gd name="connsiteX3" fmla="*/ 152400 w 285750"/>
              <a:gd name="connsiteY3" fmla="*/ 260350 h 1746266"/>
              <a:gd name="connsiteX4" fmla="*/ 120650 w 285750"/>
              <a:gd name="connsiteY4" fmla="*/ 330200 h 1746266"/>
              <a:gd name="connsiteX5" fmla="*/ 82550 w 285750"/>
              <a:gd name="connsiteY5" fmla="*/ 400050 h 1746266"/>
              <a:gd name="connsiteX6" fmla="*/ 88900 w 285750"/>
              <a:gd name="connsiteY6" fmla="*/ 495300 h 1746266"/>
              <a:gd name="connsiteX7" fmla="*/ 69850 w 285750"/>
              <a:gd name="connsiteY7" fmla="*/ 558800 h 1746266"/>
              <a:gd name="connsiteX8" fmla="*/ 63500 w 285750"/>
              <a:gd name="connsiteY8" fmla="*/ 635000 h 1746266"/>
              <a:gd name="connsiteX9" fmla="*/ 63500 w 285750"/>
              <a:gd name="connsiteY9" fmla="*/ 704850 h 1746266"/>
              <a:gd name="connsiteX10" fmla="*/ 69850 w 285750"/>
              <a:gd name="connsiteY10" fmla="*/ 787400 h 1746266"/>
              <a:gd name="connsiteX11" fmla="*/ 63500 w 285750"/>
              <a:gd name="connsiteY11" fmla="*/ 958850 h 1746266"/>
              <a:gd name="connsiteX12" fmla="*/ 57150 w 285750"/>
              <a:gd name="connsiteY12" fmla="*/ 1066800 h 1746266"/>
              <a:gd name="connsiteX13" fmla="*/ 31750 w 285750"/>
              <a:gd name="connsiteY13" fmla="*/ 1212850 h 1746266"/>
              <a:gd name="connsiteX14" fmla="*/ 38100 w 285750"/>
              <a:gd name="connsiteY14" fmla="*/ 1333500 h 1746266"/>
              <a:gd name="connsiteX15" fmla="*/ 25400 w 285750"/>
              <a:gd name="connsiteY15" fmla="*/ 1460500 h 1746266"/>
              <a:gd name="connsiteX16" fmla="*/ 12700 w 285750"/>
              <a:gd name="connsiteY16" fmla="*/ 1574800 h 1746266"/>
              <a:gd name="connsiteX17" fmla="*/ 6350 w 285750"/>
              <a:gd name="connsiteY17" fmla="*/ 1670050 h 1746266"/>
              <a:gd name="connsiteX18" fmla="*/ 0 w 285750"/>
              <a:gd name="connsiteY18" fmla="*/ 1746250 h 1746266"/>
              <a:gd name="connsiteX19" fmla="*/ 6350 w 285750"/>
              <a:gd name="connsiteY19" fmla="*/ 1663700 h 1746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5750" h="1746266">
                <a:moveTo>
                  <a:pt x="285750" y="0"/>
                </a:moveTo>
                <a:cubicBezTo>
                  <a:pt x="265641" y="38629"/>
                  <a:pt x="245533" y="77258"/>
                  <a:pt x="228600" y="107950"/>
                </a:cubicBezTo>
                <a:cubicBezTo>
                  <a:pt x="211667" y="138642"/>
                  <a:pt x="196850" y="158750"/>
                  <a:pt x="184150" y="184150"/>
                </a:cubicBezTo>
                <a:cubicBezTo>
                  <a:pt x="171450" y="209550"/>
                  <a:pt x="162983" y="236008"/>
                  <a:pt x="152400" y="260350"/>
                </a:cubicBezTo>
                <a:cubicBezTo>
                  <a:pt x="141817" y="284692"/>
                  <a:pt x="132292" y="306917"/>
                  <a:pt x="120650" y="330200"/>
                </a:cubicBezTo>
                <a:cubicBezTo>
                  <a:pt x="109008" y="353483"/>
                  <a:pt x="87842" y="372533"/>
                  <a:pt x="82550" y="400050"/>
                </a:cubicBezTo>
                <a:cubicBezTo>
                  <a:pt x="77258" y="427567"/>
                  <a:pt x="91017" y="468842"/>
                  <a:pt x="88900" y="495300"/>
                </a:cubicBezTo>
                <a:cubicBezTo>
                  <a:pt x="86783" y="521758"/>
                  <a:pt x="74083" y="535517"/>
                  <a:pt x="69850" y="558800"/>
                </a:cubicBezTo>
                <a:cubicBezTo>
                  <a:pt x="65617" y="582083"/>
                  <a:pt x="64558" y="610658"/>
                  <a:pt x="63500" y="635000"/>
                </a:cubicBezTo>
                <a:cubicBezTo>
                  <a:pt x="62442" y="659342"/>
                  <a:pt x="62442" y="679450"/>
                  <a:pt x="63500" y="704850"/>
                </a:cubicBezTo>
                <a:cubicBezTo>
                  <a:pt x="64558" y="730250"/>
                  <a:pt x="69850" y="745067"/>
                  <a:pt x="69850" y="787400"/>
                </a:cubicBezTo>
                <a:cubicBezTo>
                  <a:pt x="69850" y="829733"/>
                  <a:pt x="65617" y="912283"/>
                  <a:pt x="63500" y="958850"/>
                </a:cubicBezTo>
                <a:cubicBezTo>
                  <a:pt x="61383" y="1005417"/>
                  <a:pt x="62442" y="1024467"/>
                  <a:pt x="57150" y="1066800"/>
                </a:cubicBezTo>
                <a:cubicBezTo>
                  <a:pt x="51858" y="1109133"/>
                  <a:pt x="34925" y="1168400"/>
                  <a:pt x="31750" y="1212850"/>
                </a:cubicBezTo>
                <a:cubicBezTo>
                  <a:pt x="28575" y="1257300"/>
                  <a:pt x="39158" y="1292225"/>
                  <a:pt x="38100" y="1333500"/>
                </a:cubicBezTo>
                <a:cubicBezTo>
                  <a:pt x="37042" y="1374775"/>
                  <a:pt x="29633" y="1420283"/>
                  <a:pt x="25400" y="1460500"/>
                </a:cubicBezTo>
                <a:cubicBezTo>
                  <a:pt x="21167" y="1500717"/>
                  <a:pt x="15875" y="1539875"/>
                  <a:pt x="12700" y="1574800"/>
                </a:cubicBezTo>
                <a:cubicBezTo>
                  <a:pt x="9525" y="1609725"/>
                  <a:pt x="8467" y="1641475"/>
                  <a:pt x="6350" y="1670050"/>
                </a:cubicBezTo>
                <a:cubicBezTo>
                  <a:pt x="4233" y="1698625"/>
                  <a:pt x="0" y="1747308"/>
                  <a:pt x="0" y="1746250"/>
                </a:cubicBezTo>
                <a:cubicBezTo>
                  <a:pt x="0" y="1745192"/>
                  <a:pt x="3175" y="1704446"/>
                  <a:pt x="6350" y="1663700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A1F27F16-CC89-4C47-AF05-5AD84885F4B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466875">
            <a:off x="5465783" y="6299359"/>
            <a:ext cx="101236" cy="98120"/>
          </a:xfrm>
          <a:prstGeom prst="rect">
            <a:avLst/>
          </a:prstGeom>
        </p:spPr>
      </p:pic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C5BD776-7FD5-712B-F150-613CF96F7E4E}"/>
              </a:ext>
            </a:extLst>
          </p:cNvPr>
          <p:cNvCxnSpPr/>
          <p:nvPr/>
        </p:nvCxnSpPr>
        <p:spPr>
          <a:xfrm>
            <a:off x="1835516" y="5596432"/>
            <a:ext cx="0" cy="0"/>
          </a:xfrm>
          <a:prstGeom prst="line">
            <a:avLst/>
          </a:prstGeom>
          <a:ln>
            <a:solidFill>
              <a:srgbClr val="AFB4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AB45EE69-EFC2-9A55-5F30-D18B455FF875}"/>
              </a:ext>
            </a:extLst>
          </p:cNvPr>
          <p:cNvSpPr txBox="1"/>
          <p:nvPr/>
        </p:nvSpPr>
        <p:spPr>
          <a:xfrm>
            <a:off x="5729124" y="1376772"/>
            <a:ext cx="6091084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550" b="1" dirty="0"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rkürzt</a:t>
            </a:r>
            <a:r>
              <a:rPr lang="de-DE" sz="1550" dirty="0"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besondere </a:t>
            </a:r>
            <a:r>
              <a:rPr lang="de-DE" sz="1550" b="1" dirty="0"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e Reise vom Hauptbahnhof </a:t>
            </a:r>
            <a:r>
              <a:rPr lang="de-DE" sz="1550" dirty="0"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zu Teilen von </a:t>
            </a:r>
            <a:r>
              <a:rPr lang="de-DE" sz="1550" b="1" dirty="0"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Kreuzberg und Schöneberg.</a:t>
            </a:r>
            <a:r>
              <a:rPr lang="de-DE" sz="1550" dirty="0"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550" dirty="0"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s</a:t>
            </a:r>
            <a:r>
              <a:rPr lang="de-DE" sz="1550" dirty="0">
                <a:effectLst/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550" dirty="0"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tsteht </a:t>
            </a:r>
            <a:r>
              <a:rPr lang="de-DE" sz="1550" dirty="0">
                <a:effectLst/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r </a:t>
            </a:r>
            <a:r>
              <a:rPr lang="de-DE" sz="1550" b="1" dirty="0">
                <a:effectLst/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neue S-Bahnhof Gleisdreieck.</a:t>
            </a:r>
            <a:r>
              <a:rPr lang="de-DE" sz="1550" dirty="0">
                <a:effectLst/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571500" indent="-285750" algn="l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tabLst>
                <a:tab pos="534988" algn="l"/>
              </a:tabLst>
            </a:pPr>
            <a:r>
              <a:rPr lang="de-DE" sz="1550" dirty="0">
                <a:effectLst/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iner der </a:t>
            </a:r>
            <a:r>
              <a:rPr lang="de-DE" sz="1550" b="1" dirty="0">
                <a:effectLst/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größten Umsteigepunkte </a:t>
            </a:r>
            <a:r>
              <a:rPr lang="de-DE" sz="1550" dirty="0">
                <a:effectLst/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zwischen dem Berliner S- und U-Bahn-Netz (U1, U2 und U3)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550" dirty="0">
                <a:latin typeface="DB Neo Office" pitchFamily="2" charset="0"/>
              </a:rPr>
              <a:t>Die existierenden S-Bahnhöfe </a:t>
            </a:r>
            <a:r>
              <a:rPr lang="de-DE" sz="1550" b="1" dirty="0">
                <a:latin typeface="DB Neo Office" pitchFamily="2" charset="0"/>
              </a:rPr>
              <a:t>Yorckstraße und Yorckstraße (</a:t>
            </a:r>
            <a:r>
              <a:rPr lang="de-DE" sz="1550" b="1" dirty="0" err="1">
                <a:latin typeface="DB Neo Office" pitchFamily="2" charset="0"/>
              </a:rPr>
              <a:t>Großgörschenstraße</a:t>
            </a:r>
            <a:r>
              <a:rPr lang="de-DE" sz="1550" b="1" dirty="0">
                <a:latin typeface="DB Neo Office" pitchFamily="2" charset="0"/>
              </a:rPr>
              <a:t>)</a:t>
            </a:r>
            <a:r>
              <a:rPr lang="de-DE" sz="1550" dirty="0">
                <a:latin typeface="DB Neo Office" pitchFamily="2" charset="0"/>
              </a:rPr>
              <a:t> werden neu errichtet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550" dirty="0"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e S21 Berlin verläuft </a:t>
            </a:r>
            <a:r>
              <a:rPr lang="de-DE" sz="1550" b="1" dirty="0"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am Rande des Gleisdreieckparks</a:t>
            </a:r>
            <a:r>
              <a:rPr lang="de-DE" sz="1550" dirty="0">
                <a:latin typeface="DB Neo Office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sodass der Flächenverbrauch so gering wie möglich ausfallen wird. 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B3EE9BC-6B48-37C8-A506-469070DF9389}"/>
              </a:ext>
            </a:extLst>
          </p:cNvPr>
          <p:cNvSpPr/>
          <p:nvPr/>
        </p:nvSpPr>
        <p:spPr>
          <a:xfrm>
            <a:off x="335360" y="0"/>
            <a:ext cx="1710610" cy="2776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6CB0090-6C54-C247-6082-4A9FCCF1D303}"/>
              </a:ext>
            </a:extLst>
          </p:cNvPr>
          <p:cNvSpPr/>
          <p:nvPr/>
        </p:nvSpPr>
        <p:spPr>
          <a:xfrm>
            <a:off x="10012680" y="308126"/>
            <a:ext cx="1819275" cy="4752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15" name="Grafik 14" descr="Ein Bild, das Grafiken, Logo, Schrift, Symbol enthält.&#10;&#10;KI-generierte Inhalte können fehlerhaft sein.">
            <a:extLst>
              <a:ext uri="{FF2B5EF4-FFF2-40B4-BE49-F238E27FC236}">
                <a16:creationId xmlns:a16="http://schemas.microsoft.com/office/drawing/2014/main" id="{BCCFE34B-EEFC-52F6-EDB5-F39240DC3D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7203" y="337591"/>
            <a:ext cx="649882" cy="44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3136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7">
            <a:extLst>
              <a:ext uri="{FF2B5EF4-FFF2-40B4-BE49-F238E27FC236}">
                <a16:creationId xmlns:a16="http://schemas.microsoft.com/office/drawing/2014/main" id="{EF5AF13B-4DFC-0B82-4E74-09926CDE6A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pic>
        <p:nvPicPr>
          <p:cNvPr id="5" name="Grafik 4" descr="Ein Bild, das Grafiken, Schrift, rot, Symbol enthält.&#10;&#10;KI-generierte Inhalte können fehlerhaft sein.">
            <a:extLst>
              <a:ext uri="{FF2B5EF4-FFF2-40B4-BE49-F238E27FC236}">
                <a16:creationId xmlns:a16="http://schemas.microsoft.com/office/drawing/2014/main" id="{4FEE005B-96D8-7418-AACB-7E8DE3E57C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8118" y="2226425"/>
            <a:ext cx="2707204" cy="1814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4896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MASTER" val="DB 16_9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B">
  <a:themeElements>
    <a:clrScheme name="DB Farben">
      <a:dk1>
        <a:sysClr val="windowText" lastClr="000000"/>
      </a:dk1>
      <a:lt1>
        <a:sysClr val="window" lastClr="FFFFFF"/>
      </a:lt1>
      <a:dk2>
        <a:srgbClr val="000000"/>
      </a:dk2>
      <a:lt2>
        <a:srgbClr val="878C96"/>
      </a:lt2>
      <a:accent1>
        <a:srgbClr val="D7DCE1"/>
      </a:accent1>
      <a:accent2>
        <a:srgbClr val="EC0016"/>
      </a:accent2>
      <a:accent3>
        <a:srgbClr val="F0F3F5"/>
      </a:accent3>
      <a:accent4>
        <a:srgbClr val="AFB4BB"/>
      </a:accent4>
      <a:accent5>
        <a:srgbClr val="3C414B"/>
      </a:accent5>
      <a:accent6>
        <a:srgbClr val="F0F3F5"/>
      </a:accent6>
      <a:hlink>
        <a:srgbClr val="3C414B"/>
      </a:hlink>
      <a:folHlink>
        <a:srgbClr val="878C96"/>
      </a:folHlink>
    </a:clrScheme>
    <a:fontScheme name="Benutzerdefiniert 104">
      <a:majorFont>
        <a:latin typeface="DB Head Black"/>
        <a:ea typeface=""/>
        <a:cs typeface=""/>
      </a:majorFont>
      <a:minorFont>
        <a:latin typeface="DB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lIns="72000" tIns="72000" rIns="72000" bIns="72000" rtlCol="0" anchor="ctr"/>
      <a:lstStyle>
        <a:defPPr algn="ctr">
          <a:buClr>
            <a:schemeClr val="accent2"/>
          </a:buClr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FB4BB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975" indent="-180975" algn="l">
          <a:buClr>
            <a:schemeClr val="accent2"/>
          </a:buClr>
          <a:buFont typeface="DB Sans" panose="020B0502050202020204" pitchFamily="34" charset="0"/>
          <a:buChar char="‒"/>
          <a:defRPr sz="1600" dirty="0" err="1" smtClean="0"/>
        </a:defPPr>
      </a:lstStyle>
    </a:txDef>
  </a:objectDefaults>
  <a:extraClrSchemeLst/>
  <a:custClrLst>
    <a:custClr name="Yellow 700">
      <a:srgbClr val="FF9B00"/>
    </a:custClr>
    <a:custClr name="Orange 700">
      <a:srgbClr val="C05E00"/>
    </a:custClr>
    <a:custClr name="Red 700">
      <a:srgbClr val="9B000E"/>
    </a:custClr>
    <a:custClr name="Burgundy 700">
      <a:srgbClr val="641E32"/>
    </a:custClr>
    <a:custClr name="Pink 700">
      <a:srgbClr val="B80065"/>
    </a:custClr>
    <a:custClr name="Violett 700">
      <a:srgbClr val="581D70"/>
    </a:custClr>
    <a:custClr name="Blue 700">
      <a:srgbClr val="0A1E6E"/>
    </a:custClr>
    <a:custClr name="Cyan 700">
      <a:srgbClr val="006A96"/>
    </a:custClr>
    <a:custClr name="Turquiose 700">
      <a:srgbClr val="006E6B"/>
    </a:custClr>
    <a:custClr name="Green 700">
      <a:srgbClr val="165C27"/>
    </a:custClr>
    <a:custClr name="Yellow 500">
      <a:srgbClr val="FFD800"/>
    </a:custClr>
    <a:custClr name="Orange 500">
      <a:srgbClr val="F39200"/>
    </a:custClr>
    <a:custClr name="Red 500">
      <a:srgbClr val="EC0016"/>
    </a:custClr>
    <a:custClr name="Burgundy 500">
      <a:srgbClr val="A9455D"/>
    </a:custClr>
    <a:custClr name="Pink 500">
      <a:srgbClr val="E93E8F"/>
    </a:custClr>
    <a:custClr name="Violett 500">
      <a:srgbClr val="814997"/>
    </a:custClr>
    <a:custClr name="Blue 500">
      <a:srgbClr val="1455C0"/>
    </a:custClr>
    <a:custClr name="Cyan 500">
      <a:srgbClr val="309FD1"/>
    </a:custClr>
    <a:custClr name="Turquiose 500">
      <a:srgbClr val="00A099"/>
    </a:custClr>
    <a:custClr name="Green 500">
      <a:srgbClr val="408335"/>
    </a:custClr>
    <a:custClr name="Yellow 300">
      <a:srgbClr val="FFF876"/>
    </a:custClr>
    <a:custClr name="Orange 300">
      <a:srgbClr val="FACA7F"/>
    </a:custClr>
    <a:custClr name="Red 300">
      <a:srgbClr val="FA9090"/>
    </a:custClr>
    <a:custClr name="Burgundy 300">
      <a:srgbClr val="DA9AA8"/>
    </a:custClr>
    <a:custClr name="Pink 300">
      <a:srgbClr val="F4AECE"/>
    </a:custClr>
    <a:custClr name="Violett 300">
      <a:srgbClr val="C2A1C7"/>
    </a:custClr>
    <a:custClr name="Blue 300">
      <a:srgbClr val="73AEF4"/>
    </a:custClr>
    <a:custClr name="Cyan 300">
      <a:srgbClr val="84CFEF"/>
    </a:custClr>
    <a:custClr name="Turquiose 300">
      <a:srgbClr val="83CACA"/>
    </a:custClr>
    <a:custClr name="Green 300">
      <a:srgbClr val="8CBC80"/>
    </a:custClr>
    <a:custClr name="Yellow 100">
      <a:srgbClr val="FFFFDC"/>
    </a:custClr>
    <a:custClr name="Orange 100">
      <a:srgbClr val="FFF4D8"/>
    </a:custClr>
    <a:custClr name="Red 100">
      <a:srgbClr val="FEE6E6"/>
    </a:custClr>
    <a:custClr name="Burgundy 100">
      <a:srgbClr val="F4E8ED"/>
    </a:custClr>
    <a:custClr name="Pink 100">
      <a:srgbClr val="FDEEF8"/>
    </a:custClr>
    <a:custClr name="Violett 100">
      <a:srgbClr val="F4EEFA"/>
    </a:custClr>
    <a:custClr name="Blue 100">
      <a:srgbClr val="E0EFFB"/>
    </a:custClr>
    <a:custClr name="Cyan 100">
      <a:srgbClr val="E5FAFF"/>
    </a:custClr>
    <a:custClr name="Turquiose 100">
      <a:srgbClr val="E3F5F4"/>
    </a:custClr>
    <a:custClr name="Green 100">
      <a:srgbClr val="E2F3E5"/>
    </a:custClr>
    <a:custClr name="Light Green 700">
      <a:srgbClr val="44741A"/>
    </a:custClr>
    <a:custClr name="Light Green 500">
      <a:srgbClr val="63A615"/>
    </a:custClr>
    <a:custClr name="Light Green 300">
      <a:srgbClr val="9FD45F"/>
    </a:custClr>
    <a:custClr name="Light Green 100">
      <a:srgbClr val="EBF7DD"/>
    </a:custClr>
    <a:custClr name="Warm Grey 700">
      <a:srgbClr val="4F4B41"/>
    </a:custClr>
    <a:custClr name="Warm Grey 500">
      <a:srgbClr val="858379"/>
    </a:custClr>
    <a:custClr name="Warm Grey 300">
      <a:srgbClr val="BCBBB2"/>
    </a:custClr>
    <a:custClr name="Warm Grey 100">
      <a:srgbClr val="F5F4F1"/>
    </a:custClr>
    <a:custClr name="Black">
      <a:srgbClr val="000000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DB InfraGO_16_9.potx" id="{E8F5190A-B526-489E-8B03-87742B251684}" vid="{D36373E9-EEC7-4F2F-A9C1-E0B37F07CD6A}"/>
    </a:ext>
  </a:extLst>
</a:theme>
</file>

<file path=ppt/theme/theme2.xml><?xml version="1.0" encoding="utf-8"?>
<a:theme xmlns:a="http://schemas.openxmlformats.org/drawingml/2006/main" name="Office">
  <a:themeElements>
    <a:clrScheme name="DB KONZERN 2022">
      <a:dk1>
        <a:sysClr val="windowText" lastClr="000000"/>
      </a:dk1>
      <a:lt1>
        <a:sysClr val="window" lastClr="FFFFFF"/>
      </a:lt1>
      <a:dk2>
        <a:srgbClr val="000000"/>
      </a:dk2>
      <a:lt2>
        <a:srgbClr val="878C96"/>
      </a:lt2>
      <a:accent1>
        <a:srgbClr val="D7DCE1"/>
      </a:accent1>
      <a:accent2>
        <a:srgbClr val="EC0016"/>
      </a:accent2>
      <a:accent3>
        <a:srgbClr val="F0F3F5"/>
      </a:accent3>
      <a:accent4>
        <a:srgbClr val="AFB4BB"/>
      </a:accent4>
      <a:accent5>
        <a:srgbClr val="3C414B"/>
      </a:accent5>
      <a:accent6>
        <a:srgbClr val="F0F3F5"/>
      </a:accent6>
      <a:hlink>
        <a:srgbClr val="3C414B"/>
      </a:hlink>
      <a:folHlink>
        <a:srgbClr val="878C96"/>
      </a:folHlink>
    </a:clrScheme>
    <a:fontScheme name="DB KONZERN 2022">
      <a:majorFont>
        <a:latin typeface="DB Head Black"/>
        <a:ea typeface=""/>
        <a:cs typeface=""/>
      </a:majorFont>
      <a:minorFont>
        <a:latin typeface="DB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DB KONZERN 2022">
      <a:dk1>
        <a:sysClr val="windowText" lastClr="000000"/>
      </a:dk1>
      <a:lt1>
        <a:sysClr val="window" lastClr="FFFFFF"/>
      </a:lt1>
      <a:dk2>
        <a:srgbClr val="000000"/>
      </a:dk2>
      <a:lt2>
        <a:srgbClr val="878C96"/>
      </a:lt2>
      <a:accent1>
        <a:srgbClr val="D7DCE1"/>
      </a:accent1>
      <a:accent2>
        <a:srgbClr val="EC0016"/>
      </a:accent2>
      <a:accent3>
        <a:srgbClr val="F0F3F5"/>
      </a:accent3>
      <a:accent4>
        <a:srgbClr val="AFB4BB"/>
      </a:accent4>
      <a:accent5>
        <a:srgbClr val="3C414B"/>
      </a:accent5>
      <a:accent6>
        <a:srgbClr val="F0F3F5"/>
      </a:accent6>
      <a:hlink>
        <a:srgbClr val="3C414B"/>
      </a:hlink>
      <a:folHlink>
        <a:srgbClr val="878C96"/>
      </a:folHlink>
    </a:clrScheme>
    <a:fontScheme name="DB KONZERN 2022">
      <a:majorFont>
        <a:latin typeface="DB Head Black"/>
        <a:ea typeface=""/>
        <a:cs typeface=""/>
      </a:majorFont>
      <a:minorFont>
        <a:latin typeface="DB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186c096-f21f-46d5-a562-a5a219854526">
      <Terms xmlns="http://schemas.microsoft.com/office/infopath/2007/PartnerControls"/>
    </lcf76f155ced4ddcb4097134ff3c332f>
    <TaxCatchAll xmlns="5494e9d0-cf30-4e07-9828-714abd6f56d8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16605D6D2D8D643A81FD7572AB1684F" ma:contentTypeVersion="21" ma:contentTypeDescription="Ein neues Dokument erstellen." ma:contentTypeScope="" ma:versionID="3af90a3a451d80cd2009de8d36b7a925">
  <xsd:schema xmlns:xsd="http://www.w3.org/2001/XMLSchema" xmlns:xs="http://www.w3.org/2001/XMLSchema" xmlns:p="http://schemas.microsoft.com/office/2006/metadata/properties" xmlns:ns2="7186c096-f21f-46d5-a562-a5a219854526" xmlns:ns3="5494e9d0-cf30-4e07-9828-714abd6f56d8" targetNamespace="http://schemas.microsoft.com/office/2006/metadata/properties" ma:root="true" ma:fieldsID="b66dbb5acb8b4cc1b950a97f70bdc352" ns2:_="" ns3:_="">
    <xsd:import namespace="7186c096-f21f-46d5-a562-a5a219854526"/>
    <xsd:import namespace="5494e9d0-cf30-4e07-9828-714abd6f56d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3:TaxCatchAll" minOccurs="0"/>
                <xsd:element ref="ns2:lcf76f155ced4ddcb4097134ff3c332f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86c096-f21f-46d5-a562-a5a21985452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f80f6d38-43b1-4def-ac06-3ce7426a3aa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94e9d0-cf30-4e07-9828-714abd6f56d8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56c1d9f4-e8d0-47a3-aca7-6688581f8f6e}" ma:internalName="TaxCatchAll" ma:showField="CatchAllData" ma:web="5494e9d0-cf30-4e07-9828-714abd6f56d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3B18786-8B79-44CB-945E-5D3E75AC213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E5351D6-57D2-4455-ABE5-74B9E6ED7796}">
  <ds:schemaRefs>
    <ds:schemaRef ds:uri="b09a1f25-c818-47e2-b653-bf3ecb3505e2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cc8cfae9-7a43-4e42-8185-0755ab31ab8e"/>
    <ds:schemaRef ds:uri="http://schemas.microsoft.com/office/2006/metadata/properties"/>
    <ds:schemaRef ds:uri="http://purl.org/dc/terms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DD939B1-C755-48B6-9337-3A5575F7400E}"/>
</file>

<file path=docProps/app.xml><?xml version="1.0" encoding="utf-8"?>
<Properties xmlns="http://schemas.openxmlformats.org/officeDocument/2006/extended-properties" xmlns:vt="http://schemas.openxmlformats.org/officeDocument/2006/docPropsVTypes">
  <Template>DB InfraGO_16_9</Template>
  <TotalTime>0</TotalTime>
  <Words>714</Words>
  <Application>Microsoft Office PowerPoint</Application>
  <PresentationFormat>Breitbild</PresentationFormat>
  <Paragraphs>76</Paragraphs>
  <Slides>7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7" baseType="lpstr">
      <vt:lpstr>Arial</vt:lpstr>
      <vt:lpstr>Courier New</vt:lpstr>
      <vt:lpstr>DB Head Black</vt:lpstr>
      <vt:lpstr>DB Head Light</vt:lpstr>
      <vt:lpstr>DB Neo Office</vt:lpstr>
      <vt:lpstr>DB Neo Office Head</vt:lpstr>
      <vt:lpstr>DB Office</vt:lpstr>
      <vt:lpstr>DB Sans</vt:lpstr>
      <vt:lpstr>DB</vt:lpstr>
      <vt:lpstr>think-cell Folie</vt:lpstr>
      <vt:lpstr>Projekt S21 Berlin Pressetermin zur Inbetriebnahme  des 1. Bauabschnitts (Interimszustand)</vt:lpstr>
      <vt:lpstr>PowerPoint-Präsentation</vt:lpstr>
      <vt:lpstr>PowerPoint-Präsentation</vt:lpstr>
      <vt:lpstr>Bauabschnitt 1: Wedding/Westhafen bis Berlin Hauptbahnhof Inbetriebnahme (Interimszustand) Frühjahr 2026</vt:lpstr>
      <vt:lpstr>Bauabschnitt 2: Berliner Hauptbahnhof bis Potsdamer Platz Das Planfeststellungsverfahren läuft.</vt:lpstr>
      <vt:lpstr>Bauabschnitt 3a: Potsdamer Platz bis zu den S-Bahnhöfen Yorckstraße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rastrukturprojekte</dc:title>
  <dc:creator>Julia.Szafranski@deutschebahn.com</dc:creator>
  <cp:lastModifiedBy>Julia Szafranski</cp:lastModifiedBy>
  <cp:revision>1</cp:revision>
  <dcterms:created xsi:type="dcterms:W3CDTF">2024-01-05T10:11:50Z</dcterms:created>
  <dcterms:modified xsi:type="dcterms:W3CDTF">2026-06-03T12:17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416605D6D2D8D643A81FD7572AB1684F</vt:lpwstr>
  </property>
  <property fmtid="{D5CDD505-2E9C-101B-9397-08002B2CF9AE}" pid="4" name="MSIP_Label_3dac9f92-1d4e-4aae-b975-a9900684008d_Enabled">
    <vt:lpwstr>true</vt:lpwstr>
  </property>
  <property fmtid="{D5CDD505-2E9C-101B-9397-08002B2CF9AE}" pid="5" name="MSIP_Label_3dac9f92-1d4e-4aae-b975-a9900684008d_SetDate">
    <vt:lpwstr>2026-01-09T11:00:00Z</vt:lpwstr>
  </property>
  <property fmtid="{D5CDD505-2E9C-101B-9397-08002B2CF9AE}" pid="6" name="MSIP_Label_3dac9f92-1d4e-4aae-b975-a9900684008d_Method">
    <vt:lpwstr>Privileged</vt:lpwstr>
  </property>
  <property fmtid="{D5CDD505-2E9C-101B-9397-08002B2CF9AE}" pid="7" name="MSIP_Label_3dac9f92-1d4e-4aae-b975-a9900684008d_Name">
    <vt:lpwstr>DB Intern</vt:lpwstr>
  </property>
  <property fmtid="{D5CDD505-2E9C-101B-9397-08002B2CF9AE}" pid="8" name="MSIP_Label_3dac9f92-1d4e-4aae-b975-a9900684008d_SiteId">
    <vt:lpwstr>a1a72d9c-49e6-4f6d-9af6-5aafa1183bfd</vt:lpwstr>
  </property>
  <property fmtid="{D5CDD505-2E9C-101B-9397-08002B2CF9AE}" pid="9" name="MSIP_Label_3dac9f92-1d4e-4aae-b975-a9900684008d_ActionId">
    <vt:lpwstr>c3286e58-478d-4893-8e18-2d4dcd47ea95</vt:lpwstr>
  </property>
  <property fmtid="{D5CDD505-2E9C-101B-9397-08002B2CF9AE}" pid="10" name="MSIP_Label_3dac9f92-1d4e-4aae-b975-a9900684008d_ContentBits">
    <vt:lpwstr>1</vt:lpwstr>
  </property>
  <property fmtid="{D5CDD505-2E9C-101B-9397-08002B2CF9AE}" pid="11" name="MSIP_Label_3dac9f92-1d4e-4aae-b975-a9900684008d_Tag">
    <vt:lpwstr>10, 0, 1, 1</vt:lpwstr>
  </property>
  <property fmtid="{D5CDD505-2E9C-101B-9397-08002B2CF9AE}" pid="12" name="ClassificationContentMarkingHeaderLocations">
    <vt:lpwstr>DB:11</vt:lpwstr>
  </property>
  <property fmtid="{D5CDD505-2E9C-101B-9397-08002B2CF9AE}" pid="13" name="ClassificationContentMarkingHeaderText">
    <vt:lpwstr>          DB Intern / DB internal</vt:lpwstr>
  </property>
</Properties>
</file>